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56"/>
  </p:notesMasterIdLst>
  <p:sldIdLst>
    <p:sldId id="257" r:id="rId3"/>
    <p:sldId id="258" r:id="rId4"/>
    <p:sldId id="259" r:id="rId5"/>
    <p:sldId id="346" r:id="rId6"/>
    <p:sldId id="349" r:id="rId7"/>
    <p:sldId id="330" r:id="rId8"/>
    <p:sldId id="322" r:id="rId9"/>
    <p:sldId id="328" r:id="rId10"/>
    <p:sldId id="270" r:id="rId11"/>
    <p:sldId id="269" r:id="rId12"/>
    <p:sldId id="271" r:id="rId13"/>
    <p:sldId id="336" r:id="rId14"/>
    <p:sldId id="345" r:id="rId15"/>
    <p:sldId id="273" r:id="rId16"/>
    <p:sldId id="272" r:id="rId17"/>
    <p:sldId id="352" r:id="rId18"/>
    <p:sldId id="353" r:id="rId19"/>
    <p:sldId id="347" r:id="rId20"/>
    <p:sldId id="339" r:id="rId21"/>
    <p:sldId id="303" r:id="rId22"/>
    <p:sldId id="291" r:id="rId23"/>
    <p:sldId id="348" r:id="rId24"/>
    <p:sldId id="350" r:id="rId25"/>
    <p:sldId id="274" r:id="rId26"/>
    <p:sldId id="275" r:id="rId27"/>
    <p:sldId id="331" r:id="rId28"/>
    <p:sldId id="332" r:id="rId29"/>
    <p:sldId id="340" r:id="rId30"/>
    <p:sldId id="294" r:id="rId31"/>
    <p:sldId id="295" r:id="rId32"/>
    <p:sldId id="296" r:id="rId33"/>
    <p:sldId id="343" r:id="rId34"/>
    <p:sldId id="298" r:id="rId35"/>
    <p:sldId id="300" r:id="rId36"/>
    <p:sldId id="342" r:id="rId37"/>
    <p:sldId id="344" r:id="rId38"/>
    <p:sldId id="334" r:id="rId39"/>
    <p:sldId id="335" r:id="rId40"/>
    <p:sldId id="301" r:id="rId41"/>
    <p:sldId id="306" r:id="rId42"/>
    <p:sldId id="308" r:id="rId43"/>
    <p:sldId id="309" r:id="rId44"/>
    <p:sldId id="310" r:id="rId45"/>
    <p:sldId id="324" r:id="rId46"/>
    <p:sldId id="265" r:id="rId47"/>
    <p:sldId id="312" r:id="rId48"/>
    <p:sldId id="325" r:id="rId49"/>
    <p:sldId id="326" r:id="rId50"/>
    <p:sldId id="313" r:id="rId51"/>
    <p:sldId id="338" r:id="rId52"/>
    <p:sldId id="314" r:id="rId53"/>
    <p:sldId id="341" r:id="rId54"/>
    <p:sldId id="320" r:id="rId55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FF"/>
    <a:srgbClr val="0033CC"/>
    <a:srgbClr val="FF7C80"/>
    <a:srgbClr val="FF99FF"/>
    <a:srgbClr val="3333FF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4" d="100"/>
          <a:sy n="84" d="100"/>
        </p:scale>
        <p:origin x="-1402" y="-6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855C23B-746E-4E19-B774-6D08AEFB0541}" type="doc">
      <dgm:prSet loTypeId="urn:microsoft.com/office/officeart/2005/8/layout/arrow2" loCatId="process" qsTypeId="urn:microsoft.com/office/officeart/2005/8/quickstyle/simple1" qsCatId="simple" csTypeId="urn:microsoft.com/office/officeart/2005/8/colors/accent6_2" csCatId="accent6" phldr="1"/>
      <dgm:spPr/>
    </dgm:pt>
    <dgm:pt modelId="{5C394EF8-81C0-4C8B-A1D4-1F2958CEE01F}">
      <dgm:prSet phldrT="[Текст]" custT="1"/>
      <dgm:spPr/>
      <dgm:t>
        <a:bodyPr/>
        <a:lstStyle/>
        <a:p>
          <a:r>
            <a:rPr lang="ru-RU" sz="2800" b="1" dirty="0" smtClean="0">
              <a:solidFill>
                <a:schemeClr val="tx1"/>
              </a:solidFill>
            </a:rPr>
            <a:t>Низкий</a:t>
          </a:r>
          <a:endParaRPr lang="ru-RU" sz="2800" b="1" dirty="0">
            <a:solidFill>
              <a:schemeClr val="tx1"/>
            </a:solidFill>
          </a:endParaRPr>
        </a:p>
      </dgm:t>
    </dgm:pt>
    <dgm:pt modelId="{5E12556C-6195-4176-B7F5-0ABE8280D068}" type="parTrans" cxnId="{67195A90-DEC3-4CD2-BF97-4E85FE9C28FC}">
      <dgm:prSet/>
      <dgm:spPr/>
      <dgm:t>
        <a:bodyPr/>
        <a:lstStyle/>
        <a:p>
          <a:endParaRPr lang="ru-RU"/>
        </a:p>
      </dgm:t>
    </dgm:pt>
    <dgm:pt modelId="{87A8438B-9B33-4651-8FE0-33085C137337}" type="sibTrans" cxnId="{67195A90-DEC3-4CD2-BF97-4E85FE9C28FC}">
      <dgm:prSet/>
      <dgm:spPr/>
      <dgm:t>
        <a:bodyPr/>
        <a:lstStyle/>
        <a:p>
          <a:endParaRPr lang="ru-RU"/>
        </a:p>
      </dgm:t>
    </dgm:pt>
    <dgm:pt modelId="{6471E78D-EDB9-40BD-8C08-44AE3C066846}">
      <dgm:prSet phldrT="[Текст]" custT="1"/>
      <dgm:spPr/>
      <dgm:t>
        <a:bodyPr/>
        <a:lstStyle/>
        <a:p>
          <a:r>
            <a:rPr lang="ru-RU" sz="3200" b="1" dirty="0" smtClean="0">
              <a:solidFill>
                <a:srgbClr val="3333FF"/>
              </a:solidFill>
            </a:rPr>
            <a:t>Умеренный</a:t>
          </a:r>
          <a:endParaRPr lang="ru-RU" sz="3200" b="1" dirty="0">
            <a:solidFill>
              <a:srgbClr val="3333FF"/>
            </a:solidFill>
          </a:endParaRPr>
        </a:p>
      </dgm:t>
    </dgm:pt>
    <dgm:pt modelId="{01CF28D4-4B3C-48D7-A1EB-DD753781521F}" type="parTrans" cxnId="{5234911B-14AD-484B-96CA-E8E851D106FA}">
      <dgm:prSet/>
      <dgm:spPr/>
      <dgm:t>
        <a:bodyPr/>
        <a:lstStyle/>
        <a:p>
          <a:endParaRPr lang="ru-RU"/>
        </a:p>
      </dgm:t>
    </dgm:pt>
    <dgm:pt modelId="{847FDE21-460B-43D4-B1BB-3C31F28C3FBC}" type="sibTrans" cxnId="{5234911B-14AD-484B-96CA-E8E851D106FA}">
      <dgm:prSet/>
      <dgm:spPr/>
      <dgm:t>
        <a:bodyPr/>
        <a:lstStyle/>
        <a:p>
          <a:endParaRPr lang="ru-RU"/>
        </a:p>
      </dgm:t>
    </dgm:pt>
    <dgm:pt modelId="{EBDD4939-2E7F-440F-80E9-FC440A1358A9}">
      <dgm:prSet phldrT="[Текст]" custT="1"/>
      <dgm:spPr/>
      <dgm:t>
        <a:bodyPr/>
        <a:lstStyle/>
        <a:p>
          <a:r>
            <a:rPr lang="ru-RU" sz="3600" b="1" dirty="0" smtClean="0">
              <a:solidFill>
                <a:srgbClr val="FF0000"/>
              </a:solidFill>
            </a:rPr>
            <a:t>Высокий</a:t>
          </a:r>
          <a:endParaRPr lang="ru-RU" sz="3600" b="1" dirty="0">
            <a:solidFill>
              <a:srgbClr val="FF0000"/>
            </a:solidFill>
          </a:endParaRPr>
        </a:p>
      </dgm:t>
    </dgm:pt>
    <dgm:pt modelId="{B12E6C18-E48E-42A4-931B-039241EF51F5}" type="parTrans" cxnId="{3EDCA126-2531-4DDC-9C94-FE130ACF082E}">
      <dgm:prSet/>
      <dgm:spPr/>
      <dgm:t>
        <a:bodyPr/>
        <a:lstStyle/>
        <a:p>
          <a:endParaRPr lang="ru-RU"/>
        </a:p>
      </dgm:t>
    </dgm:pt>
    <dgm:pt modelId="{7D283F68-0673-42B1-9E5E-3A52E95EC680}" type="sibTrans" cxnId="{3EDCA126-2531-4DDC-9C94-FE130ACF082E}">
      <dgm:prSet/>
      <dgm:spPr/>
      <dgm:t>
        <a:bodyPr/>
        <a:lstStyle/>
        <a:p>
          <a:endParaRPr lang="ru-RU"/>
        </a:p>
      </dgm:t>
    </dgm:pt>
    <dgm:pt modelId="{074C3D63-7DC7-4687-9996-A5002B747B76}" type="pres">
      <dgm:prSet presAssocID="{8855C23B-746E-4E19-B774-6D08AEFB0541}" presName="arrowDiagram" presStyleCnt="0">
        <dgm:presLayoutVars>
          <dgm:chMax val="5"/>
          <dgm:dir/>
          <dgm:resizeHandles val="exact"/>
        </dgm:presLayoutVars>
      </dgm:prSet>
      <dgm:spPr/>
    </dgm:pt>
    <dgm:pt modelId="{A34B73A1-FFE0-4562-8558-D2140313D1B6}" type="pres">
      <dgm:prSet presAssocID="{8855C23B-746E-4E19-B774-6D08AEFB0541}" presName="arrow" presStyleLbl="bgShp" presStyleIdx="0" presStyleCnt="1"/>
      <dgm:spPr/>
    </dgm:pt>
    <dgm:pt modelId="{28997F26-1DAA-452F-BFD9-A92EDE260E0D}" type="pres">
      <dgm:prSet presAssocID="{8855C23B-746E-4E19-B774-6D08AEFB0541}" presName="arrowDiagram3" presStyleCnt="0"/>
      <dgm:spPr/>
    </dgm:pt>
    <dgm:pt modelId="{907D01FB-A507-4E6B-A467-B4148BA09D18}" type="pres">
      <dgm:prSet presAssocID="{5C394EF8-81C0-4C8B-A1D4-1F2958CEE01F}" presName="bullet3a" presStyleLbl="node1" presStyleIdx="0" presStyleCnt="3"/>
      <dgm:spPr/>
    </dgm:pt>
    <dgm:pt modelId="{D85B379A-BEF2-44DB-B265-DEA25C9D69D9}" type="pres">
      <dgm:prSet presAssocID="{5C394EF8-81C0-4C8B-A1D4-1F2958CEE01F}" presName="textBox3a" presStyleLbl="revTx" presStyleIdx="0" presStyleCnt="3" custScaleX="156245" custLinFactNeighborX="-6615" custLinFactNeighborY="1711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A5CA4EC-A885-4715-AFED-474D4F1D69B3}" type="pres">
      <dgm:prSet presAssocID="{6471E78D-EDB9-40BD-8C08-44AE3C066846}" presName="bullet3b" presStyleLbl="node1" presStyleIdx="1" presStyleCnt="3"/>
      <dgm:spPr/>
    </dgm:pt>
    <dgm:pt modelId="{3A3A17C1-6923-4C70-AA2D-401AF4FDA29A}" type="pres">
      <dgm:prSet presAssocID="{6471E78D-EDB9-40BD-8C08-44AE3C066846}" presName="textBox3b" presStyleLbl="revTx" presStyleIdx="1" presStyleCnt="3" custScaleX="225082" custScaleY="90652" custLinFactNeighborX="-8374" custLinFactNeighborY="1427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54142A4-2B02-4649-9FDE-135BC6E69AD7}" type="pres">
      <dgm:prSet presAssocID="{EBDD4939-2E7F-440F-80E9-FC440A1358A9}" presName="bullet3c" presStyleLbl="node1" presStyleIdx="2" presStyleCnt="3"/>
      <dgm:spPr/>
    </dgm:pt>
    <dgm:pt modelId="{E94590E6-2721-4876-94AA-F0706BC610D8}" type="pres">
      <dgm:prSet presAssocID="{EBDD4939-2E7F-440F-80E9-FC440A1358A9}" presName="textBox3c" presStyleLbl="revTx" presStyleIdx="2" presStyleCnt="3" custScaleX="156245" custScaleY="87301" custLinFactNeighborX="6973" custLinFactNeighborY="643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7195A90-DEC3-4CD2-BF97-4E85FE9C28FC}" srcId="{8855C23B-746E-4E19-B774-6D08AEFB0541}" destId="{5C394EF8-81C0-4C8B-A1D4-1F2958CEE01F}" srcOrd="0" destOrd="0" parTransId="{5E12556C-6195-4176-B7F5-0ABE8280D068}" sibTransId="{87A8438B-9B33-4651-8FE0-33085C137337}"/>
    <dgm:cxn modelId="{0D30AB42-8B3A-41FF-8000-4026F289B336}" type="presOf" srcId="{EBDD4939-2E7F-440F-80E9-FC440A1358A9}" destId="{E94590E6-2721-4876-94AA-F0706BC610D8}" srcOrd="0" destOrd="0" presId="urn:microsoft.com/office/officeart/2005/8/layout/arrow2"/>
    <dgm:cxn modelId="{5234911B-14AD-484B-96CA-E8E851D106FA}" srcId="{8855C23B-746E-4E19-B774-6D08AEFB0541}" destId="{6471E78D-EDB9-40BD-8C08-44AE3C066846}" srcOrd="1" destOrd="0" parTransId="{01CF28D4-4B3C-48D7-A1EB-DD753781521F}" sibTransId="{847FDE21-460B-43D4-B1BB-3C31F28C3FBC}"/>
    <dgm:cxn modelId="{AC516C0F-8A9B-481A-832C-890ECFE5F751}" type="presOf" srcId="{5C394EF8-81C0-4C8B-A1D4-1F2958CEE01F}" destId="{D85B379A-BEF2-44DB-B265-DEA25C9D69D9}" srcOrd="0" destOrd="0" presId="urn:microsoft.com/office/officeart/2005/8/layout/arrow2"/>
    <dgm:cxn modelId="{4E42D136-C315-4F99-890C-AEEE610F5FA9}" type="presOf" srcId="{8855C23B-746E-4E19-B774-6D08AEFB0541}" destId="{074C3D63-7DC7-4687-9996-A5002B747B76}" srcOrd="0" destOrd="0" presId="urn:microsoft.com/office/officeart/2005/8/layout/arrow2"/>
    <dgm:cxn modelId="{12C71CFC-4363-41E7-906B-8662E64ECBE3}" type="presOf" srcId="{6471E78D-EDB9-40BD-8C08-44AE3C066846}" destId="{3A3A17C1-6923-4C70-AA2D-401AF4FDA29A}" srcOrd="0" destOrd="0" presId="urn:microsoft.com/office/officeart/2005/8/layout/arrow2"/>
    <dgm:cxn modelId="{3EDCA126-2531-4DDC-9C94-FE130ACF082E}" srcId="{8855C23B-746E-4E19-B774-6D08AEFB0541}" destId="{EBDD4939-2E7F-440F-80E9-FC440A1358A9}" srcOrd="2" destOrd="0" parTransId="{B12E6C18-E48E-42A4-931B-039241EF51F5}" sibTransId="{7D283F68-0673-42B1-9E5E-3A52E95EC680}"/>
    <dgm:cxn modelId="{90BF20FE-1CC2-4B95-8CA0-9F6CB390D0C1}" type="presParOf" srcId="{074C3D63-7DC7-4687-9996-A5002B747B76}" destId="{A34B73A1-FFE0-4562-8558-D2140313D1B6}" srcOrd="0" destOrd="0" presId="urn:microsoft.com/office/officeart/2005/8/layout/arrow2"/>
    <dgm:cxn modelId="{F3C2932D-1575-4D4E-851A-93919B194B74}" type="presParOf" srcId="{074C3D63-7DC7-4687-9996-A5002B747B76}" destId="{28997F26-1DAA-452F-BFD9-A92EDE260E0D}" srcOrd="1" destOrd="0" presId="urn:microsoft.com/office/officeart/2005/8/layout/arrow2"/>
    <dgm:cxn modelId="{A5EA4164-D914-457B-BBBE-F7B248860106}" type="presParOf" srcId="{28997F26-1DAA-452F-BFD9-A92EDE260E0D}" destId="{907D01FB-A507-4E6B-A467-B4148BA09D18}" srcOrd="0" destOrd="0" presId="urn:microsoft.com/office/officeart/2005/8/layout/arrow2"/>
    <dgm:cxn modelId="{3608EC09-568B-445B-A878-BB5A2182ECFB}" type="presParOf" srcId="{28997F26-1DAA-452F-BFD9-A92EDE260E0D}" destId="{D85B379A-BEF2-44DB-B265-DEA25C9D69D9}" srcOrd="1" destOrd="0" presId="urn:microsoft.com/office/officeart/2005/8/layout/arrow2"/>
    <dgm:cxn modelId="{0F6A8532-F2D4-475C-BD25-4FFEEC88B38E}" type="presParOf" srcId="{28997F26-1DAA-452F-BFD9-A92EDE260E0D}" destId="{8A5CA4EC-A885-4715-AFED-474D4F1D69B3}" srcOrd="2" destOrd="0" presId="urn:microsoft.com/office/officeart/2005/8/layout/arrow2"/>
    <dgm:cxn modelId="{5B561ED3-6063-41C1-9715-E60C1936FD4D}" type="presParOf" srcId="{28997F26-1DAA-452F-BFD9-A92EDE260E0D}" destId="{3A3A17C1-6923-4C70-AA2D-401AF4FDA29A}" srcOrd="3" destOrd="0" presId="urn:microsoft.com/office/officeart/2005/8/layout/arrow2"/>
    <dgm:cxn modelId="{AC0840C8-3B4C-4257-B864-3A1DEEABB628}" type="presParOf" srcId="{28997F26-1DAA-452F-BFD9-A92EDE260E0D}" destId="{A54142A4-2B02-4649-9FDE-135BC6E69AD7}" srcOrd="4" destOrd="0" presId="urn:microsoft.com/office/officeart/2005/8/layout/arrow2"/>
    <dgm:cxn modelId="{B1FEFA51-3256-4DD3-80E3-8036348542BC}" type="presParOf" srcId="{28997F26-1DAA-452F-BFD9-A92EDE260E0D}" destId="{E94590E6-2721-4876-94AA-F0706BC610D8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4B73A1-FFE0-4562-8558-D2140313D1B6}">
      <dsp:nvSpPr>
        <dsp:cNvPr id="0" name=""/>
        <dsp:cNvSpPr/>
      </dsp:nvSpPr>
      <dsp:spPr>
        <a:xfrm>
          <a:off x="1224135" y="0"/>
          <a:ext cx="5760640" cy="3600400"/>
        </a:xfrm>
        <a:prstGeom prst="swooshArrow">
          <a:avLst>
            <a:gd name="adj1" fmla="val 25000"/>
            <a:gd name="adj2" fmla="val 25000"/>
          </a:avLst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7D01FB-A507-4E6B-A467-B4148BA09D18}">
      <dsp:nvSpPr>
        <dsp:cNvPr id="0" name=""/>
        <dsp:cNvSpPr/>
      </dsp:nvSpPr>
      <dsp:spPr>
        <a:xfrm>
          <a:off x="1955737" y="2484996"/>
          <a:ext cx="149776" cy="14977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85B379A-BEF2-44DB-B265-DEA25C9D69D9}">
      <dsp:nvSpPr>
        <dsp:cNvPr id="0" name=""/>
        <dsp:cNvSpPr/>
      </dsp:nvSpPr>
      <dsp:spPr>
        <a:xfrm>
          <a:off x="1564368" y="2559884"/>
          <a:ext cx="2097165" cy="10405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9364" tIns="0" rIns="0" bIns="0" numCol="1" spcCol="1270" anchor="t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chemeClr val="tx1"/>
              </a:solidFill>
            </a:rPr>
            <a:t>Низкий</a:t>
          </a:r>
          <a:endParaRPr lang="ru-RU" sz="2800" b="1" kern="1200" dirty="0">
            <a:solidFill>
              <a:schemeClr val="tx1"/>
            </a:solidFill>
          </a:endParaRPr>
        </a:p>
      </dsp:txBody>
      <dsp:txXfrm>
        <a:off x="1564368" y="2559884"/>
        <a:ext cx="2097165" cy="1040515"/>
      </dsp:txXfrm>
    </dsp:sp>
    <dsp:sp modelId="{8A5CA4EC-A885-4715-AFED-474D4F1D69B3}">
      <dsp:nvSpPr>
        <dsp:cNvPr id="0" name=""/>
        <dsp:cNvSpPr/>
      </dsp:nvSpPr>
      <dsp:spPr>
        <a:xfrm>
          <a:off x="3277804" y="1506407"/>
          <a:ext cx="270750" cy="270750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3A17C1-6923-4C70-AA2D-401AF4FDA29A}">
      <dsp:nvSpPr>
        <dsp:cNvPr id="0" name=""/>
        <dsp:cNvSpPr/>
      </dsp:nvSpPr>
      <dsp:spPr>
        <a:xfrm>
          <a:off x="2432741" y="1824873"/>
          <a:ext cx="3111879" cy="17755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3465" tIns="0" rIns="0" bIns="0" numCol="1" spcCol="1270" anchor="t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b="1" kern="1200" dirty="0" smtClean="0">
              <a:solidFill>
                <a:srgbClr val="3333FF"/>
              </a:solidFill>
            </a:rPr>
            <a:t>Умеренный</a:t>
          </a:r>
          <a:endParaRPr lang="ru-RU" sz="3200" b="1" kern="1200" dirty="0">
            <a:solidFill>
              <a:srgbClr val="3333FF"/>
            </a:solidFill>
          </a:endParaRPr>
        </a:p>
      </dsp:txBody>
      <dsp:txXfrm>
        <a:off x="2432741" y="1824873"/>
        <a:ext cx="3111879" cy="1775526"/>
      </dsp:txXfrm>
    </dsp:sp>
    <dsp:sp modelId="{A54142A4-2B02-4649-9FDE-135BC6E69AD7}">
      <dsp:nvSpPr>
        <dsp:cNvPr id="0" name=""/>
        <dsp:cNvSpPr/>
      </dsp:nvSpPr>
      <dsp:spPr>
        <a:xfrm>
          <a:off x="4867740" y="910901"/>
          <a:ext cx="374441" cy="374441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94590E6-2721-4876-94AA-F0706BC610D8}">
      <dsp:nvSpPr>
        <dsp:cNvPr id="0" name=""/>
        <dsp:cNvSpPr/>
      </dsp:nvSpPr>
      <dsp:spPr>
        <a:xfrm>
          <a:off x="4762558" y="1415886"/>
          <a:ext cx="2160170" cy="21845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8409" tIns="0" rIns="0" bIns="0" numCol="1" spcCol="1270" anchor="t" anchorCtr="0">
          <a:noAutofit/>
        </a:bodyPr>
        <a:lstStyle/>
        <a:p>
          <a:pPr lvl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600" b="1" kern="1200" dirty="0" smtClean="0">
              <a:solidFill>
                <a:srgbClr val="FF0000"/>
              </a:solidFill>
            </a:rPr>
            <a:t>Высокий</a:t>
          </a:r>
          <a:endParaRPr lang="ru-RU" sz="3600" b="1" kern="1200" dirty="0">
            <a:solidFill>
              <a:srgbClr val="FF0000"/>
            </a:solidFill>
          </a:endParaRPr>
        </a:p>
      </dsp:txBody>
      <dsp:txXfrm>
        <a:off x="4762558" y="1415886"/>
        <a:ext cx="2160170" cy="218451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18125C-5B10-410D-8DB0-91D6707788E5}" type="datetimeFigureOut">
              <a:rPr lang="ru-RU" smtClean="0"/>
              <a:t>18.06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7E566-39A1-455C-967A-99202B8078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25740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6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0E78A471-D789-41F3-8A64-F8CE717DD838}" type="slidenum">
              <a:rPr lang="en-GB"/>
              <a:t>2</a:t>
            </a:fld>
            <a:endParaRPr lang="en-GB"/>
          </a:p>
        </p:txBody>
      </p:sp>
      <p:sp>
        <p:nvSpPr>
          <p:cNvPr id="4099" name="Rectangle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95325"/>
            <a:ext cx="4570413" cy="3427413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4100" name="Text Box 2"/>
          <p:cNvSpPr txBox="1">
            <a:spLocks noGrp="1" noChangeArrowheads="1"/>
          </p:cNvSpPr>
          <p:nvPr>
            <p:ph type="body" idx="1"/>
          </p:nvPr>
        </p:nvSpPr>
        <p:spPr>
          <a:xfrm>
            <a:off x="685512" y="4343230"/>
            <a:ext cx="5486976" cy="4115139"/>
          </a:xfrm>
          <a:noFill/>
          <a:ln/>
        </p:spPr>
        <p:txBody>
          <a:bodyPr tIns="9279"/>
          <a:lstStyle/>
          <a:p>
            <a:pPr algn="just">
              <a:lnSpc>
                <a:spcPct val="93000"/>
              </a:lnSpc>
              <a:spcBef>
                <a:spcPct val="0"/>
              </a:spcBef>
              <a:tabLst>
                <a:tab pos="634643" algn="l"/>
                <a:tab pos="1269286" algn="l"/>
                <a:tab pos="1903929" algn="l"/>
                <a:tab pos="2538573" algn="l"/>
                <a:tab pos="3173216" algn="l"/>
                <a:tab pos="3807859" algn="l"/>
                <a:tab pos="4442502" algn="l"/>
                <a:tab pos="5077145" algn="l"/>
              </a:tabLst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379617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8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080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080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080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080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080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8089D600-4172-4053-B7C2-0C88E1BFD7BF}" type="slidenum">
              <a:rPr lang="fr-FR" altLang="ru-RU" sz="1200">
                <a:solidFill>
                  <a:prstClr val="black"/>
                </a:solidFill>
              </a:rPr>
              <a:pPr eaLnBrk="1" hangingPunct="1"/>
              <a:t>38</a:t>
            </a:fld>
            <a:endParaRPr lang="fr-FR" altLang="ru-RU" sz="1200">
              <a:solidFill>
                <a:prstClr val="black"/>
              </a:solidFill>
            </a:endParaRPr>
          </a:p>
        </p:txBody>
      </p:sp>
      <p:sp>
        <p:nvSpPr>
          <p:cNvPr id="49155" name="Text Box 1"/>
          <p:cNvSpPr txBox="1">
            <a:spLocks noChangeArrowheads="1"/>
          </p:cNvSpPr>
          <p:nvPr/>
        </p:nvSpPr>
        <p:spPr bwMode="auto">
          <a:xfrm>
            <a:off x="3883991" y="8687904"/>
            <a:ext cx="2972392" cy="456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6177" tIns="48089" rIns="96177" bIns="48089" anchor="b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D6E3E1B4-E321-48C1-959A-1E61035B4CF0}" type="slidenum">
              <a:rPr lang="fr-FR" altLang="ru-RU" sz="1300" smtClean="0">
                <a:solidFill>
                  <a:srgbClr val="000000"/>
                </a:solidFill>
                <a:latin typeface="Times New Roman" pitchFamily="18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38</a:t>
            </a:fld>
            <a:endParaRPr lang="fr-FR" altLang="ru-RU" sz="13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49156" name="Text Box 2"/>
          <p:cNvSpPr txBox="1">
            <a:spLocks noChangeArrowheads="1"/>
          </p:cNvSpPr>
          <p:nvPr/>
        </p:nvSpPr>
        <p:spPr bwMode="auto">
          <a:xfrm>
            <a:off x="0" y="8687904"/>
            <a:ext cx="2972393" cy="456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6177" tIns="48089" rIns="96177" bIns="48089" anchor="b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ru-RU" sz="13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49157" name="Text Box 3"/>
          <p:cNvSpPr txBox="1">
            <a:spLocks noChangeArrowheads="1"/>
          </p:cNvSpPr>
          <p:nvPr/>
        </p:nvSpPr>
        <p:spPr bwMode="auto">
          <a:xfrm>
            <a:off x="0" y="0"/>
            <a:ext cx="2972393" cy="456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6177" tIns="48089" rIns="96177" bIns="48089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ru-RU" sz="13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49158" name="Text Box 4"/>
          <p:cNvSpPr txBox="1">
            <a:spLocks noChangeArrowheads="1"/>
          </p:cNvSpPr>
          <p:nvPr/>
        </p:nvSpPr>
        <p:spPr bwMode="auto">
          <a:xfrm>
            <a:off x="3883991" y="0"/>
            <a:ext cx="2972392" cy="456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6177" tIns="48089" rIns="96177" bIns="48089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ru-RU" sz="13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49159" name="Text Box 5"/>
          <p:cNvSpPr txBox="1">
            <a:spLocks noChangeArrowheads="1"/>
          </p:cNvSpPr>
          <p:nvPr/>
        </p:nvSpPr>
        <p:spPr bwMode="auto">
          <a:xfrm>
            <a:off x="1095858" y="798905"/>
            <a:ext cx="4664668" cy="3204446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9812" tIns="44906" rIns="89812" bIns="44906" anchor="ctr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altLang="ru-RU" smtClean="0">
              <a:solidFill>
                <a:prstClr val="black"/>
              </a:solidFill>
            </a:endParaRPr>
          </a:p>
        </p:txBody>
      </p:sp>
      <p:sp>
        <p:nvSpPr>
          <p:cNvPr id="49160" name="Text Box 6"/>
          <p:cNvSpPr>
            <a:spLocks noGrp="1" noChangeArrowheads="1"/>
          </p:cNvSpPr>
          <p:nvPr>
            <p:ph type="body"/>
          </p:nvPr>
        </p:nvSpPr>
        <p:spPr>
          <a:xfrm>
            <a:off x="914832" y="4346158"/>
            <a:ext cx="5026721" cy="3850338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6177" tIns="48089" rIns="96177" bIns="48089"/>
          <a:lstStyle/>
          <a:p>
            <a:pPr eaLnBrk="1" hangingPunct="1">
              <a:spcBef>
                <a:spcPts val="438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altLang="ru-RU" smtClean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Еще один подход к анализу состава действующих веществ – изучение распределения молекулярной массы эноксапаринов разных производителей. Были обнаружены небольшие различия между биоаналогами и оригинальным препаратом, которые не выходили за рамки спецификаций оригинального эноксапарина</a:t>
            </a:r>
            <a:r>
              <a:rPr lang="en-US" altLang="ru-RU" smtClean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.</a:t>
            </a:r>
          </a:p>
          <a:p>
            <a:pPr eaLnBrk="1" hangingPunct="1">
              <a:spcBef>
                <a:spcPts val="438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altLang="ru-RU" smtClean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Тем не менее, определяется существенная вариабельность при анализе разных партий одного препарата (3 партии Кутенокса), что может подвергнуть сомнению предсказуемость и воспроизводимость его терапевтических эффектов</a:t>
            </a:r>
            <a:r>
              <a:rPr lang="en-US" altLang="ru-RU" smtClean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. </a:t>
            </a:r>
          </a:p>
          <a:p>
            <a:pPr eaLnBrk="1" hangingPunct="1">
              <a:spcBef>
                <a:spcPts val="438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US" altLang="ru-RU" smtClean="0">
              <a:solidFill>
                <a:srgbClr val="000000"/>
              </a:solidFill>
              <a:latin typeface="Times New Roman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39673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2256-EB8A-4303-8D35-47EA983816AE}" type="datetimeFigureOut">
              <a:rPr lang="ru-RU" smtClean="0"/>
              <a:t>18.06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53618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2256-EB8A-4303-8D35-47EA983816AE}" type="datetimeFigureOut">
              <a:rPr lang="ru-RU" smtClean="0"/>
              <a:t>18.06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15377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2256-EB8A-4303-8D35-47EA983816AE}" type="datetimeFigureOut">
              <a:rPr lang="ru-RU" smtClean="0"/>
              <a:t>18.06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54793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481" y="273629"/>
            <a:ext cx="8226720" cy="114348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6481" y="1604329"/>
            <a:ext cx="8226720" cy="219335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481" y="3935934"/>
            <a:ext cx="8226720" cy="2193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165E9B0-7DA8-466E-963D-86F25D5E43BA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31866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8BB663-0E8C-470B-8171-C7E548C695A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23944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838200" y="1425575"/>
            <a:ext cx="7467600" cy="1066800"/>
          </a:xfrm>
          <a:ln w="12700"/>
        </p:spPr>
        <p:txBody>
          <a:bodyPr lIns="90488" tIns="44450" rIns="90488" bIns="44450"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104900" y="2780928"/>
            <a:ext cx="6934200" cy="2370137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385657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endParaRPr lang="ru-RU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0FEB32-F878-4572-8556-DB53295F2517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24663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1EEAA6-ED05-46D3-8399-3953226896F1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2518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755650" y="1628775"/>
            <a:ext cx="3790950" cy="41767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99000" y="1628775"/>
            <a:ext cx="3790950" cy="41767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9BC836-E9D5-4AA1-A6ED-39F947BCE855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0702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3E466F-4BB3-4722-811B-0FA717EAABAE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91139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C316FC-085F-4F71-A9DD-5DA150AF6FFE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0132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2256-EB8A-4303-8D35-47EA983816AE}" type="datetimeFigureOut">
              <a:rPr lang="ru-RU" smtClean="0"/>
              <a:t>18.06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62959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801CBF-2A15-4EAD-BDC0-9726F0CA491C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01026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00C240-DC4F-406D-999C-A532D54BA348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0456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10B158-0A38-4723-B645-DE07695DF671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6142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229DFC-55FA-4E55-A44A-FF787873FCDF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14467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38913" y="304800"/>
            <a:ext cx="1951037" cy="55006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304800"/>
            <a:ext cx="5700713" cy="550068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54772C-1061-4C3F-B7EE-A34A3C259489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48982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755650" y="1628775"/>
            <a:ext cx="3790950" cy="41767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99000" y="1628775"/>
            <a:ext cx="3790950" cy="20113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99000" y="3792538"/>
            <a:ext cx="3790950" cy="20129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C0BD40-4007-4508-8A16-E402AD666988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7911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755650" y="1628775"/>
            <a:ext cx="3790950" cy="41767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99000" y="1628775"/>
            <a:ext cx="3790950" cy="41767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A463CA-C9A0-4ABD-BD2C-05A3D42ED269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1173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Заголовок, объект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755650" y="1628775"/>
            <a:ext cx="3790950" cy="41767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99000" y="1628775"/>
            <a:ext cx="3790950" cy="41767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CAFB1F-D9F0-42A4-BCA4-2B6E2AE06015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38997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Заголовок, клип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Клип 2"/>
          <p:cNvSpPr>
            <a:spLocks noGrp="1"/>
          </p:cNvSpPr>
          <p:nvPr>
            <p:ph type="clipArt" sz="half" idx="1"/>
          </p:nvPr>
        </p:nvSpPr>
        <p:spPr>
          <a:xfrm>
            <a:off x="755650" y="1628775"/>
            <a:ext cx="3790950" cy="417671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99000" y="1628775"/>
            <a:ext cx="3790950" cy="41767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8C8936-A6E6-4843-9EDF-75C833461F5A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43898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89B565-783F-42A9-8DF0-9A1BE720DE97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930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2256-EB8A-4303-8D35-47EA983816AE}" type="datetimeFigureOut">
              <a:rPr lang="ru-RU" smtClean="0"/>
              <a:t>18.06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475043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685800" y="304800"/>
            <a:ext cx="7804150" cy="55006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132700-37E8-46AD-A3FF-DC3D4C13F4C3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98320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755650" y="1628775"/>
            <a:ext cx="7734300" cy="417671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7A85DE-D187-4AB1-989A-D89C2B1FAD0C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4581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два объекта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755650" y="1628775"/>
            <a:ext cx="3790950" cy="20113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99000" y="1628775"/>
            <a:ext cx="3790950" cy="20113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half" idx="3"/>
          </p:nvPr>
        </p:nvSpPr>
        <p:spPr>
          <a:xfrm>
            <a:off x="755650" y="3792538"/>
            <a:ext cx="7734300" cy="20129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C277AD-B61D-4787-BBE8-0E03D81092BF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2893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35150" y="304800"/>
            <a:ext cx="662305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755650" y="1628775"/>
            <a:ext cx="7734300" cy="417671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01F8C0-2041-4226-8CF2-7FA698F90F10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0982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2256-EB8A-4303-8D35-47EA983816AE}" type="datetimeFigureOut">
              <a:rPr lang="ru-RU" smtClean="0"/>
              <a:t>18.06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72306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2256-EB8A-4303-8D35-47EA983816AE}" type="datetimeFigureOut">
              <a:rPr lang="ru-RU" smtClean="0"/>
              <a:t>18.06.20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68697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2256-EB8A-4303-8D35-47EA983816AE}" type="datetimeFigureOut">
              <a:rPr lang="ru-RU" smtClean="0"/>
              <a:t>18.06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02644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2256-EB8A-4303-8D35-47EA983816AE}" type="datetimeFigureOut">
              <a:rPr lang="ru-RU" smtClean="0"/>
              <a:t>18.06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93826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2256-EB8A-4303-8D35-47EA983816AE}" type="datetimeFigureOut">
              <a:rPr lang="ru-RU" smtClean="0"/>
              <a:t>18.06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05507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2256-EB8A-4303-8D35-47EA983816AE}" type="datetimeFigureOut">
              <a:rPr lang="ru-RU" smtClean="0"/>
              <a:t>18.06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30688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AF2256-EB8A-4303-8D35-47EA983816AE}" type="datetimeFigureOut">
              <a:rPr lang="ru-RU" smtClean="0"/>
              <a:t>18.06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337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55650" y="1628775"/>
            <a:ext cx="7734300" cy="417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1835150" y="304800"/>
            <a:ext cx="66230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 smtClean="0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46913" y="651986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54405F5-EF01-4BF7-98A3-7209DFA63810}" type="slidenum">
              <a:rPr lang="ru-RU">
                <a:solidFill>
                  <a:srgbClr val="565656">
                    <a:tint val="75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727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105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05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105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105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105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105000"/>
        </a:lnSpc>
        <a:spcBef>
          <a:spcPct val="0"/>
        </a:spcBef>
        <a:spcAft>
          <a:spcPct val="0"/>
        </a:spcAft>
        <a:defRPr sz="3600">
          <a:solidFill>
            <a:srgbClr val="D21906"/>
          </a:solidFill>
          <a:latin typeface="Arial" charset="0"/>
          <a:cs typeface="Arial" charset="0"/>
        </a:defRPr>
      </a:lvl6pPr>
      <a:lvl7pPr marL="914400" algn="l" rtl="0" fontAlgn="base">
        <a:lnSpc>
          <a:spcPct val="105000"/>
        </a:lnSpc>
        <a:spcBef>
          <a:spcPct val="0"/>
        </a:spcBef>
        <a:spcAft>
          <a:spcPct val="0"/>
        </a:spcAft>
        <a:defRPr sz="3600">
          <a:solidFill>
            <a:srgbClr val="D21906"/>
          </a:solidFill>
          <a:latin typeface="Arial" charset="0"/>
          <a:cs typeface="Arial" charset="0"/>
        </a:defRPr>
      </a:lvl7pPr>
      <a:lvl8pPr marL="1371600" algn="l" rtl="0" fontAlgn="base">
        <a:lnSpc>
          <a:spcPct val="105000"/>
        </a:lnSpc>
        <a:spcBef>
          <a:spcPct val="0"/>
        </a:spcBef>
        <a:spcAft>
          <a:spcPct val="0"/>
        </a:spcAft>
        <a:defRPr sz="3600">
          <a:solidFill>
            <a:srgbClr val="D21906"/>
          </a:solidFill>
          <a:latin typeface="Arial" charset="0"/>
          <a:cs typeface="Arial" charset="0"/>
        </a:defRPr>
      </a:lvl8pPr>
      <a:lvl9pPr marL="1828800" algn="l" rtl="0" fontAlgn="base">
        <a:lnSpc>
          <a:spcPct val="105000"/>
        </a:lnSpc>
        <a:spcBef>
          <a:spcPct val="0"/>
        </a:spcBef>
        <a:spcAft>
          <a:spcPct val="0"/>
        </a:spcAft>
        <a:defRPr sz="3600">
          <a:solidFill>
            <a:srgbClr val="D21906"/>
          </a:solidFill>
          <a:latin typeface="Arial" charset="0"/>
          <a:cs typeface="Arial" charset="0"/>
        </a:defRPr>
      </a:lvl9pPr>
    </p:titleStyle>
    <p:bodyStyle>
      <a:lvl1pPr marL="377825" indent="-377825" algn="l" rtl="0" eaLnBrk="0" fontAlgn="base" hangingPunct="0">
        <a:lnSpc>
          <a:spcPct val="122000"/>
        </a:lnSpc>
        <a:spcBef>
          <a:spcPct val="0"/>
        </a:spcBef>
        <a:spcAft>
          <a:spcPct val="10000"/>
        </a:spcAft>
        <a:buClr>
          <a:schemeClr val="tx1"/>
        </a:buClr>
        <a:buSzPct val="120000"/>
        <a:buFont typeface="Wingdings" pitchFamily="2" charset="2"/>
        <a:buChar char="§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860425" indent="-292100" algn="l" rtl="0" eaLnBrk="0" fontAlgn="base" hangingPunct="0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defRPr sz="2800">
          <a:solidFill>
            <a:srgbClr val="000000"/>
          </a:solidFill>
          <a:latin typeface="+mn-lt"/>
          <a:cs typeface="+mn-cs"/>
        </a:defRPr>
      </a:lvl2pPr>
      <a:lvl3pPr marL="1239838" indent="-188913" algn="l" rtl="0" eaLnBrk="0" fontAlgn="base" hangingPunct="0">
        <a:spcBef>
          <a:spcPct val="0"/>
        </a:spcBef>
        <a:spcAft>
          <a:spcPct val="20000"/>
        </a:spcAft>
        <a:buClr>
          <a:schemeClr val="tx1"/>
        </a:buClr>
        <a:buSzPct val="80000"/>
        <a:buFont typeface="Wingdings" pitchFamily="2" charset="2"/>
        <a:buChar char="§"/>
        <a:defRPr sz="1600">
          <a:solidFill>
            <a:srgbClr val="000000"/>
          </a:solidFill>
          <a:latin typeface="+mn-lt"/>
          <a:cs typeface="+mn-cs"/>
        </a:defRPr>
      </a:lvl3pPr>
      <a:lvl4pPr marL="1601788" indent="-171450" algn="l" rtl="0" eaLnBrk="0" fontAlgn="base" hangingPunct="0">
        <a:spcBef>
          <a:spcPct val="0"/>
        </a:spcBef>
        <a:spcAft>
          <a:spcPct val="20000"/>
        </a:spcAft>
        <a:buClr>
          <a:schemeClr val="tx1"/>
        </a:buClr>
        <a:buSzPct val="80000"/>
        <a:buFont typeface="Wingdings" pitchFamily="2" charset="2"/>
        <a:buChar char="§"/>
        <a:defRPr sz="1600">
          <a:solidFill>
            <a:srgbClr val="000000"/>
          </a:solidFill>
          <a:latin typeface="+mn-lt"/>
          <a:cs typeface="+mn-cs"/>
        </a:defRPr>
      </a:lvl4pPr>
      <a:lvl5pPr marL="1963738" indent="-171450" algn="l" rtl="0" eaLnBrk="0" fontAlgn="base" hangingPunct="0">
        <a:spcBef>
          <a:spcPct val="0"/>
        </a:spcBef>
        <a:spcAft>
          <a:spcPct val="20000"/>
        </a:spcAft>
        <a:buClr>
          <a:schemeClr val="tx1"/>
        </a:buClr>
        <a:buSzPct val="80000"/>
        <a:buFont typeface="Wingdings" pitchFamily="2" charset="2"/>
        <a:buChar char="§"/>
        <a:defRPr sz="1600">
          <a:solidFill>
            <a:srgbClr val="000000"/>
          </a:solidFill>
          <a:latin typeface="+mn-lt"/>
          <a:cs typeface="+mn-cs"/>
        </a:defRPr>
      </a:lvl5pPr>
      <a:lvl6pPr marL="2420938" indent="-171450" algn="l" rtl="0" fontAlgn="base">
        <a:spcBef>
          <a:spcPct val="0"/>
        </a:spcBef>
        <a:spcAft>
          <a:spcPct val="20000"/>
        </a:spcAft>
        <a:buClr>
          <a:schemeClr val="hlink"/>
        </a:buClr>
        <a:buSzPct val="80000"/>
        <a:buBlip>
          <a:blip r:embed="rId22"/>
        </a:buBlip>
        <a:defRPr sz="1600">
          <a:solidFill>
            <a:srgbClr val="000000"/>
          </a:solidFill>
          <a:latin typeface="+mn-lt"/>
          <a:cs typeface="+mn-cs"/>
        </a:defRPr>
      </a:lvl6pPr>
      <a:lvl7pPr marL="2878138" indent="-171450" algn="l" rtl="0" fontAlgn="base">
        <a:spcBef>
          <a:spcPct val="0"/>
        </a:spcBef>
        <a:spcAft>
          <a:spcPct val="20000"/>
        </a:spcAft>
        <a:buClr>
          <a:schemeClr val="hlink"/>
        </a:buClr>
        <a:buSzPct val="80000"/>
        <a:buBlip>
          <a:blip r:embed="rId22"/>
        </a:buBlip>
        <a:defRPr sz="1600">
          <a:solidFill>
            <a:srgbClr val="000000"/>
          </a:solidFill>
          <a:latin typeface="+mn-lt"/>
          <a:cs typeface="+mn-cs"/>
        </a:defRPr>
      </a:lvl7pPr>
      <a:lvl8pPr marL="3335338" indent="-171450" algn="l" rtl="0" fontAlgn="base">
        <a:spcBef>
          <a:spcPct val="0"/>
        </a:spcBef>
        <a:spcAft>
          <a:spcPct val="20000"/>
        </a:spcAft>
        <a:buClr>
          <a:schemeClr val="hlink"/>
        </a:buClr>
        <a:buSzPct val="80000"/>
        <a:buBlip>
          <a:blip r:embed="rId22"/>
        </a:buBlip>
        <a:defRPr sz="1600">
          <a:solidFill>
            <a:srgbClr val="000000"/>
          </a:solidFill>
          <a:latin typeface="+mn-lt"/>
          <a:cs typeface="+mn-cs"/>
        </a:defRPr>
      </a:lvl8pPr>
      <a:lvl9pPr marL="3792538" indent="-171450" algn="l" rtl="0" fontAlgn="base">
        <a:spcBef>
          <a:spcPct val="0"/>
        </a:spcBef>
        <a:spcAft>
          <a:spcPct val="20000"/>
        </a:spcAft>
        <a:buClr>
          <a:schemeClr val="hlink"/>
        </a:buClr>
        <a:buSzPct val="80000"/>
        <a:buBlip>
          <a:blip r:embed="rId22"/>
        </a:buBlip>
        <a:defRPr sz="16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gif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gif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g"/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5.jpeg"/><Relationship Id="rId4" Type="http://schemas.openxmlformats.org/officeDocument/2006/relationships/image" Target="../media/image44.jp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9.jpg"/><Relationship Id="rId4" Type="http://schemas.openxmlformats.org/officeDocument/2006/relationships/image" Target="../media/image4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2.png"/><Relationship Id="rId4" Type="http://schemas.microsoft.com/office/2007/relationships/hdphoto" Target="../media/hdphoto6.wdp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4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microsoft.com/office/2007/relationships/hdphoto" Target="../media/hdphoto2.wdp"/><Relationship Id="rId7" Type="http://schemas.microsoft.com/office/2007/relationships/hdphoto" Target="../media/hdphoto4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microsoft.com/office/2007/relationships/hdphoto" Target="../media/hdphoto3.wdp"/><Relationship Id="rId10" Type="http://schemas.openxmlformats.org/officeDocument/2006/relationships/image" Target="../media/image11.png"/><Relationship Id="rId4" Type="http://schemas.openxmlformats.org/officeDocument/2006/relationships/image" Target="../media/image8.jpeg"/><Relationship Id="rId9" Type="http://schemas.microsoft.com/office/2007/relationships/hdphoto" Target="../media/hdphoto5.wdp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hyperlink" Target="http://static.disaboom.com/content/images/articles/content/53885.jpg" TargetMode="External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g"/><Relationship Id="rId2" Type="http://schemas.openxmlformats.org/officeDocument/2006/relationships/image" Target="../media/image69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3.jpg"/><Relationship Id="rId5" Type="http://schemas.openxmlformats.org/officeDocument/2006/relationships/image" Target="../media/image72.jpg"/><Relationship Id="rId4" Type="http://schemas.openxmlformats.org/officeDocument/2006/relationships/image" Target="../media/image71.jp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g"/><Relationship Id="rId2" Type="http://schemas.openxmlformats.org/officeDocument/2006/relationships/image" Target="../media/image76.jp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jpg"/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jp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g"/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9.jpg"/><Relationship Id="rId5" Type="http://schemas.openxmlformats.org/officeDocument/2006/relationships/image" Target="../media/image88.jpeg"/><Relationship Id="rId4" Type="http://schemas.openxmlformats.org/officeDocument/2006/relationships/image" Target="../media/image87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95.png"/><Relationship Id="rId4" Type="http://schemas.openxmlformats.org/officeDocument/2006/relationships/image" Target="../media/image94.pn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hyperlink" Target="mailto:kulikov1905@yandex.ru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7.jpeg"/><Relationship Id="rId4" Type="http://schemas.openxmlformats.org/officeDocument/2006/relationships/image" Target="../media/image26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>
          <a:xfrm>
            <a:off x="287838" y="1916832"/>
            <a:ext cx="8640763" cy="431800"/>
          </a:xfrm>
        </p:spPr>
        <p:txBody>
          <a:bodyPr>
            <a:normAutofit fontScale="90000"/>
          </a:bodyPr>
          <a:lstStyle/>
          <a:p>
            <a:pPr eaLnBrk="1" hangingPunct="1">
              <a:spcBef>
                <a:spcPts val="600"/>
              </a:spcBef>
            </a:pPr>
            <a:r>
              <a:rPr lang="ru-RU" sz="3100" b="1" dirty="0" smtClean="0">
                <a:solidFill>
                  <a:srgbClr val="0033CC"/>
                </a:solidFill>
                <a:latin typeface="+mn-lt"/>
              </a:rPr>
              <a:t/>
            </a:r>
            <a:br>
              <a:rPr lang="ru-RU" sz="3100" b="1" dirty="0" smtClean="0">
                <a:solidFill>
                  <a:srgbClr val="0033CC"/>
                </a:solidFill>
                <a:latin typeface="+mn-lt"/>
              </a:rPr>
            </a:br>
            <a:r>
              <a:rPr lang="ru-RU" sz="3100" b="1" dirty="0" smtClean="0">
                <a:solidFill>
                  <a:srgbClr val="0033CC"/>
                </a:solidFill>
                <a:latin typeface="+mn-lt"/>
              </a:rPr>
              <a:t>Тромбопрофилактика </a:t>
            </a:r>
            <a:r>
              <a:rPr lang="ru-RU" sz="3100" b="1" dirty="0" smtClean="0">
                <a:solidFill>
                  <a:srgbClr val="0033CC"/>
                </a:solidFill>
                <a:latin typeface="+mn-lt"/>
              </a:rPr>
              <a:t>в акушерстве</a:t>
            </a:r>
            <a:r>
              <a:rPr lang="ru-RU" sz="3100" b="1" dirty="0" smtClean="0">
                <a:solidFill>
                  <a:srgbClr val="0033CC"/>
                </a:solidFill>
                <a:latin typeface="Arial Black" pitchFamily="34" charset="0"/>
              </a:rPr>
              <a:t/>
            </a:r>
            <a:br>
              <a:rPr lang="ru-RU" sz="3100" b="1" dirty="0" smtClean="0">
                <a:solidFill>
                  <a:srgbClr val="0033CC"/>
                </a:solidFill>
                <a:latin typeface="Arial Black" pitchFamily="34" charset="0"/>
              </a:rPr>
            </a:br>
            <a:r>
              <a:rPr lang="ru-RU" sz="2800" b="1" dirty="0" smtClean="0">
                <a:solidFill>
                  <a:srgbClr val="0033CC"/>
                </a:solidFill>
              </a:rPr>
              <a:t/>
            </a:r>
            <a:br>
              <a:rPr lang="ru-RU" sz="2800" b="1" dirty="0" smtClean="0">
                <a:solidFill>
                  <a:srgbClr val="0033CC"/>
                </a:solidFill>
              </a:rPr>
            </a:br>
            <a:endParaRPr lang="ru-RU" sz="2000" dirty="0" smtClean="0"/>
          </a:p>
        </p:txBody>
      </p:sp>
      <p:sp>
        <p:nvSpPr>
          <p:cNvPr id="4" name="Прямоугольник 3"/>
          <p:cNvSpPr/>
          <p:nvPr/>
        </p:nvSpPr>
        <p:spPr>
          <a:xfrm>
            <a:off x="395536" y="2596842"/>
            <a:ext cx="8136904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ru-RU" b="1" dirty="0"/>
              <a:t>Куликов </a:t>
            </a:r>
            <a:r>
              <a:rPr lang="ru-RU" b="1" dirty="0" smtClean="0"/>
              <a:t>А.В</a:t>
            </a:r>
          </a:p>
          <a:p>
            <a:pPr algn="ctr">
              <a:buNone/>
            </a:pPr>
            <a:r>
              <a:rPr lang="ru-RU" sz="1400" b="1" dirty="0" smtClean="0"/>
              <a:t>Уральский </a:t>
            </a:r>
            <a:r>
              <a:rPr lang="ru-RU" sz="1400" b="1" dirty="0"/>
              <a:t>государственный медицинский университет</a:t>
            </a:r>
          </a:p>
          <a:p>
            <a:pPr algn="ctr">
              <a:buNone/>
            </a:pPr>
            <a:r>
              <a:rPr lang="ru-RU" sz="1400" b="1" dirty="0" smtClean="0"/>
              <a:t>Кафедра </a:t>
            </a:r>
            <a:r>
              <a:rPr lang="ru-RU" sz="1400" b="1" dirty="0"/>
              <a:t>анестезиологии,  реаниматологии и трансфузиологии ФПК и ПП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0630" y="260649"/>
            <a:ext cx="5509642" cy="810646"/>
          </a:xfrm>
          <a:prstGeom prst="rect">
            <a:avLst/>
          </a:prstGeom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591" y="3717032"/>
            <a:ext cx="3240793" cy="2232248"/>
          </a:xfrm>
          <a:prstGeom prst="rect">
            <a:avLst/>
          </a:prstGeom>
          <a:noFill/>
          <a:ln>
            <a:noFill/>
          </a:ln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15598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0"/>
            <a:ext cx="4761532" cy="6641947"/>
          </a:xfrm>
          <a:prstGeom prst="rect">
            <a:avLst/>
          </a:prstGeom>
        </p:spPr>
      </p:pic>
      <p:pic>
        <p:nvPicPr>
          <p:cNvPr id="1026" name="Picture 2" descr="Figure 1: Magnetic resonance imaging of brain T1 axial section (a), T2 sagital section (b) and magnetic resonance venography (c) showing thrombosis of superior sagital bilateral lateral sinus and straight sinu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8134" y="188640"/>
            <a:ext cx="2878745" cy="1170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Figure 2: Computerised tomographic venography coronal (a,b) and axial (c,d) showing thrombosis of internal jugular, subclavian, and brachiocephalic veins on left sid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8134" y="1556792"/>
            <a:ext cx="3039345" cy="302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3293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An external file that holds a picture, illustration, etc.&#10;Object name is 1477-9560-11-4-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712" y="188640"/>
            <a:ext cx="3277130" cy="643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An external file that holds a picture, illustration, etc.&#10;Object name is 1477-9560-11-4-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5976" y="764704"/>
            <a:ext cx="3960439" cy="3960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5"/>
          <p:cNvSpPr>
            <a:spLocks noChangeArrowheads="1"/>
          </p:cNvSpPr>
          <p:nvPr/>
        </p:nvSpPr>
        <p:spPr bwMode="auto">
          <a:xfrm>
            <a:off x="3779912" y="5383669"/>
            <a:ext cx="4748459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Fiengo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L,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Bucci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F,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Patrizi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G,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Giannotti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D,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Redler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A.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Postpartum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deep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vein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thrombosis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and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pulmonary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embolism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in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twin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pregnancy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: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undertaking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of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clinical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symptoms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leading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to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massive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complications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.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Thromb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J. 2013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Feb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22;11(1):4. </a:t>
            </a:r>
            <a:endParaRPr kumimoji="0" lang="ru-RU" altLang="ru-RU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1519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50106"/>
          </a:xfrm>
        </p:spPr>
        <p:txBody>
          <a:bodyPr>
            <a:normAutofit/>
          </a:bodyPr>
          <a:lstStyle/>
          <a:p>
            <a:r>
              <a:rPr lang="ru-RU" sz="3600" b="1" dirty="0" smtClean="0"/>
              <a:t>Кто в России специалист по гемостазу?</a:t>
            </a:r>
            <a:endParaRPr lang="ru-RU" sz="3600" b="1" dirty="0"/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CB7301-C76A-4DD0-B7C9-7E050B2DF377}" type="datetime11">
              <a:rPr lang="ru-RU" smtClean="0"/>
              <a:t>15:35:5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Куликов А.В.</a:t>
            </a:r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640" y="1412776"/>
            <a:ext cx="5724636" cy="3816424"/>
          </a:xfrm>
          <a:prstGeom prst="rect">
            <a:avLst/>
          </a:prstGeom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2070545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1340768"/>
            <a:ext cx="7855520" cy="4713312"/>
          </a:xfrm>
          <a:prstGeom prst="rect">
            <a:avLst/>
          </a:prstGeom>
          <a:effectLst>
            <a:softEdge rad="317500"/>
          </a:effectLst>
        </p:spPr>
      </p:pic>
      <p:sp>
        <p:nvSpPr>
          <p:cNvPr id="3" name="TextBox 2"/>
          <p:cNvSpPr txBox="1"/>
          <p:nvPr/>
        </p:nvSpPr>
        <p:spPr>
          <a:xfrm>
            <a:off x="611560" y="476672"/>
            <a:ext cx="77048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0033CC"/>
                </a:solidFill>
              </a:rPr>
              <a:t>Акушер-гинеколог – это судьба!</a:t>
            </a:r>
            <a:endParaRPr lang="ru-RU" sz="3200" b="1" dirty="0">
              <a:solidFill>
                <a:srgbClr val="0033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7098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179388" y="274638"/>
            <a:ext cx="8785225" cy="85090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sz="2800" b="1" smtClean="0">
                <a:solidFill>
                  <a:srgbClr val="FF0000"/>
                </a:solidFill>
              </a:rPr>
              <a:t>Оценка риска тромбоэмболических осложнений для выбора метода профилактики</a:t>
            </a: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467544" y="1196752"/>
            <a:ext cx="8291959" cy="4525963"/>
          </a:xfrm>
        </p:spPr>
        <p:txBody>
          <a:bodyPr>
            <a:normAutofit fontScale="92500" lnSpcReduction="20000"/>
          </a:bodyPr>
          <a:lstStyle/>
          <a:p>
            <a:pPr marL="0" indent="0">
              <a:lnSpc>
                <a:spcPct val="150000"/>
              </a:lnSpc>
              <a:spcBef>
                <a:spcPts val="600"/>
              </a:spcBef>
              <a:buFontTx/>
              <a:buNone/>
              <a:defRPr/>
            </a:pPr>
            <a:r>
              <a:rPr lang="ru-RU" sz="2400" b="1" dirty="0" smtClean="0"/>
              <a:t>Амбулаторно </a:t>
            </a:r>
            <a:r>
              <a:rPr lang="ru-RU" sz="2400" b="1" i="1" dirty="0" smtClean="0">
                <a:solidFill>
                  <a:srgbClr val="3333FF"/>
                </a:solidFill>
              </a:rPr>
              <a:t>акушером-гинекологом</a:t>
            </a:r>
            <a:r>
              <a:rPr lang="ru-RU" sz="2400" b="1" dirty="0" smtClean="0"/>
              <a:t>: </a:t>
            </a:r>
          </a:p>
          <a:p>
            <a:pPr lvl="1">
              <a:lnSpc>
                <a:spcPct val="150000"/>
              </a:lnSpc>
              <a:spcBef>
                <a:spcPts val="600"/>
              </a:spcBef>
              <a:defRPr/>
            </a:pPr>
            <a:r>
              <a:rPr lang="ru-RU" sz="2000" b="1" dirty="0" smtClean="0"/>
              <a:t>При планировании беременности</a:t>
            </a:r>
          </a:p>
          <a:p>
            <a:pPr lvl="1">
              <a:lnSpc>
                <a:spcPct val="150000"/>
              </a:lnSpc>
              <a:spcBef>
                <a:spcPts val="600"/>
              </a:spcBef>
              <a:defRPr/>
            </a:pPr>
            <a:r>
              <a:rPr lang="ru-RU" sz="2000" b="1" dirty="0" smtClean="0"/>
              <a:t>При наступлении беременности</a:t>
            </a:r>
          </a:p>
          <a:p>
            <a:pPr>
              <a:spcBef>
                <a:spcPts val="600"/>
              </a:spcBef>
              <a:buNone/>
              <a:defRPr/>
            </a:pPr>
            <a:r>
              <a:rPr lang="ru-RU" sz="2400" b="1" dirty="0" smtClean="0"/>
              <a:t>В первый триместр беременности  </a:t>
            </a:r>
            <a:r>
              <a:rPr lang="ru-RU" sz="2000" b="1" dirty="0" smtClean="0"/>
              <a:t>(40-50% эпизодов ВТЭ, 2/3 фатальных ТЭЛА</a:t>
            </a:r>
            <a:r>
              <a:rPr lang="ru-RU" sz="2400" b="1" dirty="0" smtClean="0"/>
              <a:t>)</a:t>
            </a:r>
          </a:p>
          <a:p>
            <a:pPr>
              <a:lnSpc>
                <a:spcPct val="150000"/>
              </a:lnSpc>
              <a:spcBef>
                <a:spcPts val="600"/>
              </a:spcBef>
              <a:defRPr/>
            </a:pPr>
            <a:r>
              <a:rPr lang="ru-RU" sz="2400" b="1" dirty="0" smtClean="0"/>
              <a:t>При госпитализациях в стационар</a:t>
            </a:r>
            <a:r>
              <a:rPr lang="en-US" sz="2400" b="1" dirty="0" smtClean="0"/>
              <a:t> – </a:t>
            </a:r>
            <a:r>
              <a:rPr lang="ru-RU" sz="2400" b="1" i="1" dirty="0" smtClean="0">
                <a:solidFill>
                  <a:srgbClr val="3333FF"/>
                </a:solidFill>
              </a:rPr>
              <a:t>акушер-гинеколог</a:t>
            </a:r>
          </a:p>
          <a:p>
            <a:pPr>
              <a:lnSpc>
                <a:spcPct val="150000"/>
              </a:lnSpc>
              <a:spcBef>
                <a:spcPts val="600"/>
              </a:spcBef>
              <a:defRPr/>
            </a:pPr>
            <a:r>
              <a:rPr lang="ru-RU" sz="2400" b="1" dirty="0" smtClean="0"/>
              <a:t>Перед родами (в случае операции </a:t>
            </a:r>
            <a:r>
              <a:rPr lang="ru-RU" sz="2400" b="1" i="1" dirty="0" smtClean="0">
                <a:solidFill>
                  <a:srgbClr val="3333FF"/>
                </a:solidFill>
              </a:rPr>
              <a:t>– анестезиолог-реаниматолог)</a:t>
            </a:r>
          </a:p>
          <a:p>
            <a:pPr>
              <a:lnSpc>
                <a:spcPct val="150000"/>
              </a:lnSpc>
              <a:spcBef>
                <a:spcPts val="600"/>
              </a:spcBef>
              <a:defRPr/>
            </a:pPr>
            <a:r>
              <a:rPr lang="ru-RU" sz="2400" b="1" dirty="0" smtClean="0"/>
              <a:t>После родов (совместно </a:t>
            </a:r>
            <a:r>
              <a:rPr lang="ru-RU" sz="2400" b="1" i="1" dirty="0" smtClean="0">
                <a:solidFill>
                  <a:srgbClr val="3333FF"/>
                </a:solidFill>
              </a:rPr>
              <a:t>акушер-гинеколог и анестезиолог-реаниматолог)</a:t>
            </a:r>
            <a:endParaRPr lang="ru-RU" sz="2400" b="1" i="1" dirty="0">
              <a:solidFill>
                <a:srgbClr val="3333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7200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71600" y="116632"/>
            <a:ext cx="69847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FF0000"/>
                </a:solidFill>
              </a:rPr>
              <a:t>Оценка риска</a:t>
            </a:r>
            <a:endParaRPr lang="ru-RU" sz="4000" b="1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059832" y="3789040"/>
            <a:ext cx="5907320" cy="510778"/>
          </a:xfrm>
          <a:prstGeom prst="wedgeRoundRectCallout">
            <a:avLst>
              <a:gd name="adj1" fmla="val -29173"/>
              <a:gd name="adj2" fmla="val -108577"/>
              <a:gd name="adj3" fmla="val 16667"/>
            </a:avLst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</a:rPr>
              <a:t>Профилактика ВТЭО должна быть всегда</a:t>
            </a:r>
            <a:endParaRPr lang="ru-RU" sz="2400" b="1" dirty="0">
              <a:solidFill>
                <a:schemeClr val="bg1"/>
              </a:solidFill>
            </a:endParaRPr>
          </a:p>
        </p:txBody>
      </p:sp>
      <p:graphicFrame>
        <p:nvGraphicFramePr>
          <p:cNvPr id="13" name="Схема 12"/>
          <p:cNvGraphicFramePr/>
          <p:nvPr>
            <p:extLst>
              <p:ext uri="{D42A27DB-BD31-4B8C-83A1-F6EECF244321}">
                <p14:modId xmlns:p14="http://schemas.microsoft.com/office/powerpoint/2010/main" val="2413639205"/>
              </p:ext>
            </p:extLst>
          </p:nvPr>
        </p:nvGraphicFramePr>
        <p:xfrm>
          <a:off x="-468560" y="908720"/>
          <a:ext cx="8208912" cy="3600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Правая фигурная скобка 2"/>
          <p:cNvSpPr/>
          <p:nvPr/>
        </p:nvSpPr>
        <p:spPr>
          <a:xfrm rot="5400000">
            <a:off x="4157954" y="1106742"/>
            <a:ext cx="324036" cy="4392488"/>
          </a:xfrm>
          <a:prstGeom prst="rightBrace">
            <a:avLst>
              <a:gd name="adj1" fmla="val 62816"/>
              <a:gd name="adj2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/>
          <p:cNvSpPr txBox="1"/>
          <p:nvPr/>
        </p:nvSpPr>
        <p:spPr>
          <a:xfrm>
            <a:off x="2846472" y="5013176"/>
            <a:ext cx="6120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</a:rPr>
              <a:t>Фиксировать риск и мероприятия в медицинских документах</a:t>
            </a:r>
            <a:endParaRPr lang="ru-RU" sz="2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7219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1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4" y="1241395"/>
            <a:ext cx="2081853" cy="3150512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4643" y="185130"/>
            <a:ext cx="1584226" cy="751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6504" y="4451511"/>
            <a:ext cx="3228139" cy="2152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85130"/>
            <a:ext cx="2903166" cy="950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836711"/>
            <a:ext cx="3246026" cy="152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024" y="1241395"/>
            <a:ext cx="2987824" cy="1388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797" y="4581128"/>
            <a:ext cx="3187700" cy="202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736" y="2795457"/>
            <a:ext cx="3546992" cy="1266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1117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2855055" y="346209"/>
            <a:ext cx="5061236" cy="7099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1" y="139274"/>
            <a:ext cx="1960947" cy="1244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67192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5714" y="188640"/>
            <a:ext cx="6638644" cy="6480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667" y="188640"/>
            <a:ext cx="2336515" cy="146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608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Заголовок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412" cy="706437"/>
          </a:xfrm>
        </p:spPr>
        <p:txBody>
          <a:bodyPr>
            <a:normAutofit fontScale="90000"/>
          </a:bodyPr>
          <a:lstStyle/>
          <a:p>
            <a:r>
              <a:rPr lang="ru-RU" sz="2400" b="1" dirty="0" smtClean="0">
                <a:solidFill>
                  <a:srgbClr val="0000FF"/>
                </a:solidFill>
              </a:rPr>
              <a:t>Фармакологическую тромбопрофилактику (НМГ) во время беременности нужно использовать </a:t>
            </a:r>
            <a:r>
              <a:rPr lang="ru-RU" sz="2400" b="1" dirty="0" smtClean="0">
                <a:solidFill>
                  <a:srgbClr val="FF0000"/>
                </a:solidFill>
              </a:rPr>
              <a:t>(с чистой совестью) </a:t>
            </a:r>
            <a:r>
              <a:rPr lang="ru-RU" sz="2400" b="1" dirty="0" smtClean="0">
                <a:solidFill>
                  <a:srgbClr val="0000FF"/>
                </a:solidFill>
              </a:rPr>
              <a:t>только в следующих ситуациях:</a:t>
            </a:r>
          </a:p>
        </p:txBody>
      </p:sp>
      <p:sp>
        <p:nvSpPr>
          <p:cNvPr id="26627" name="Содержимое 2"/>
          <p:cNvSpPr>
            <a:spLocks noGrp="1"/>
          </p:cNvSpPr>
          <p:nvPr>
            <p:ph idx="1"/>
          </p:nvPr>
        </p:nvSpPr>
        <p:spPr>
          <a:xfrm>
            <a:off x="30576" y="1376772"/>
            <a:ext cx="8429855" cy="5112568"/>
          </a:xfrm>
        </p:spPr>
        <p:txBody>
          <a:bodyPr>
            <a:normAutofit/>
          </a:bodyPr>
          <a:lstStyle/>
          <a:p>
            <a:pPr lvl="1" algn="just">
              <a:spcBef>
                <a:spcPts val="1800"/>
              </a:spcBef>
            </a:pPr>
            <a:r>
              <a:rPr lang="ru-RU" sz="2400" b="1" dirty="0" smtClean="0"/>
              <a:t>Применение антикоагулянтов до беременности </a:t>
            </a:r>
            <a:r>
              <a:rPr lang="ru-RU" sz="1800" b="1" dirty="0" smtClean="0"/>
              <a:t>(протезированные клапаны сердца, тромбофилии, перенесенные ТГВ, ТЭЛА, инфаркт миокарда, ишемический инсульт)</a:t>
            </a:r>
            <a:endParaRPr lang="ru-RU" sz="2000" b="1" dirty="0" smtClean="0"/>
          </a:p>
          <a:p>
            <a:pPr lvl="1">
              <a:spcBef>
                <a:spcPts val="1800"/>
              </a:spcBef>
            </a:pPr>
            <a:r>
              <a:rPr lang="ru-RU" sz="2400" b="1" dirty="0" smtClean="0"/>
              <a:t>Развитие ТГВ, ТЭЛА во время беременности</a:t>
            </a:r>
          </a:p>
          <a:p>
            <a:pPr lvl="1">
              <a:spcBef>
                <a:spcPts val="1800"/>
              </a:spcBef>
            </a:pPr>
            <a:r>
              <a:rPr lang="ru-RU" sz="2400" b="1" dirty="0" smtClean="0"/>
              <a:t>Тромбофилии с высоким риском тромбоза:</a:t>
            </a:r>
          </a:p>
          <a:p>
            <a:pPr lvl="2">
              <a:spcBef>
                <a:spcPts val="600"/>
              </a:spcBef>
            </a:pPr>
            <a:r>
              <a:rPr lang="ru-RU" sz="1800" b="1" dirty="0" smtClean="0"/>
              <a:t>Дефицит антитромбина</a:t>
            </a:r>
            <a:endParaRPr lang="ru-RU" sz="1800" b="1" dirty="0"/>
          </a:p>
          <a:p>
            <a:pPr lvl="2">
              <a:spcBef>
                <a:spcPts val="600"/>
              </a:spcBef>
            </a:pPr>
            <a:r>
              <a:rPr lang="ru-RU" sz="1800" b="1" dirty="0" smtClean="0"/>
              <a:t>Комбинация гетерозиготной мутации </a:t>
            </a:r>
            <a:r>
              <a:rPr lang="en-US" sz="1800" b="1" dirty="0" smtClean="0"/>
              <a:t>                                            </a:t>
            </a:r>
            <a:r>
              <a:rPr lang="ru-RU" sz="1800" b="1" dirty="0" smtClean="0"/>
              <a:t>протромбина </a:t>
            </a:r>
            <a:r>
              <a:rPr lang="ru-RU" sz="1800" b="1" i="1" dirty="0" smtClean="0"/>
              <a:t>G20210A</a:t>
            </a:r>
            <a:r>
              <a:rPr lang="ru-RU" sz="1800" b="1" dirty="0" smtClean="0"/>
              <a:t> и фактора V Лейдена</a:t>
            </a:r>
            <a:endParaRPr lang="ru-RU" sz="1800" b="1" dirty="0"/>
          </a:p>
          <a:p>
            <a:pPr lvl="2">
              <a:spcBef>
                <a:spcPts val="600"/>
              </a:spcBef>
            </a:pPr>
            <a:r>
              <a:rPr lang="ru-RU" sz="1800" b="1" dirty="0" smtClean="0"/>
              <a:t>Гомозиготная мутация фактора V Лейдена</a:t>
            </a:r>
          </a:p>
          <a:p>
            <a:pPr lvl="2">
              <a:spcBef>
                <a:spcPts val="600"/>
              </a:spcBef>
            </a:pPr>
            <a:r>
              <a:rPr lang="ru-RU" sz="1800" b="1" dirty="0" smtClean="0"/>
              <a:t>Гомозиготная мутация протромбина G20210A</a:t>
            </a:r>
            <a:endParaRPr lang="ru-RU" sz="1800" b="1" dirty="0"/>
          </a:p>
          <a:p>
            <a:pPr lvl="2">
              <a:spcBef>
                <a:spcPts val="600"/>
              </a:spcBef>
            </a:pPr>
            <a:r>
              <a:rPr lang="ru-RU" sz="1800" b="1" dirty="0" smtClean="0"/>
              <a:t>Антифосфолипидный синдром </a:t>
            </a:r>
          </a:p>
          <a:p>
            <a:pPr lvl="1">
              <a:spcBef>
                <a:spcPts val="1200"/>
              </a:spcBef>
            </a:pPr>
            <a:endParaRPr lang="ru-RU" sz="2000" b="1" dirty="0" smtClean="0"/>
          </a:p>
        </p:txBody>
      </p:sp>
      <p:sp>
        <p:nvSpPr>
          <p:cNvPr id="2" name="Правая фигурная скобка 1"/>
          <p:cNvSpPr/>
          <p:nvPr/>
        </p:nvSpPr>
        <p:spPr>
          <a:xfrm>
            <a:off x="6012160" y="3682192"/>
            <a:ext cx="216024" cy="1872208"/>
          </a:xfrm>
          <a:prstGeom prst="rightBrace">
            <a:avLst>
              <a:gd name="adj1" fmla="val 80976"/>
              <a:gd name="adj2" fmla="val 50000"/>
            </a:avLst>
          </a:prstGeom>
          <a:ln w="28575">
            <a:solidFill>
              <a:srgbClr val="3333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444207" y="4018131"/>
            <a:ext cx="25199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66FF"/>
                </a:solidFill>
              </a:rPr>
              <a:t>При наличии клиники акушерской или соматической патологии</a:t>
            </a:r>
            <a:endParaRPr lang="ru-RU" b="1" dirty="0">
              <a:solidFill>
                <a:srgbClr val="0066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53061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"/>
          <p:cNvSpPr>
            <a:spLocks noGrp="1" noChangeArrowheads="1"/>
          </p:cNvSpPr>
          <p:nvPr>
            <p:ph type="title"/>
          </p:nvPr>
        </p:nvSpPr>
        <p:spPr>
          <a:xfrm>
            <a:off x="796351" y="1855387"/>
            <a:ext cx="8228160" cy="724396"/>
          </a:xfrm>
        </p:spPr>
        <p:txBody>
          <a:bodyPr tIns="12801"/>
          <a:lstStyle/>
          <a:p>
            <a:pPr eaLnBrk="1"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</a:pPr>
            <a:r>
              <a:rPr lang="en-GB" sz="1500" b="1" dirty="0"/>
              <a:t>Thrombosis in women: what are the knowledge gaps in 2013?</a:t>
            </a:r>
          </a:p>
        </p:txBody>
      </p:sp>
      <p:pic>
        <p:nvPicPr>
          <p:cNvPr id="205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73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698030" y="2579783"/>
            <a:ext cx="6549348" cy="3854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052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1026" name="Picture 2" descr="Journal of Thrombosis and Haemostasi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261464"/>
            <a:ext cx="1359701" cy="1763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3"/>
          <p:cNvSpPr>
            <a:spLocks noChangeArrowheads="1"/>
          </p:cNvSpPr>
          <p:nvPr/>
        </p:nvSpPr>
        <p:spPr bwMode="auto">
          <a:xfrm>
            <a:off x="1720069" y="721033"/>
            <a:ext cx="7244419" cy="4223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2945" tIns="41473" rIns="82945" bIns="41473" numCol="1" anchor="ctr" anchorCtr="0" compatLnSpc="1">
            <a:prstTxWarp prst="textNoShape">
              <a:avLst/>
            </a:prstTxWarp>
            <a:spAutoFit/>
          </a:bodyPr>
          <a:lstStyle/>
          <a:p>
            <a:pPr algn="r" defTabSz="829452"/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Middeldorp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 S.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Thrombosis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in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women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: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what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are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the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knowledge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gaps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in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 2013? J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Thromb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Haemost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. 2013 Jun;11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Suppl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 1:180-91.</a:t>
            </a:r>
            <a:r>
              <a:rPr lang="ru-RU" altLang="ru-RU" sz="800" dirty="0"/>
              <a:t> </a:t>
            </a:r>
            <a:endParaRPr lang="ru-RU" altLang="ru-RU" sz="2400" dirty="0"/>
          </a:p>
        </p:txBody>
      </p:sp>
      <p:sp>
        <p:nvSpPr>
          <p:cNvPr id="3" name="Полилиния 2"/>
          <p:cNvSpPr/>
          <p:nvPr/>
        </p:nvSpPr>
        <p:spPr bwMode="auto">
          <a:xfrm>
            <a:off x="2666007" y="2996952"/>
            <a:ext cx="4333451" cy="2088232"/>
          </a:xfrm>
          <a:custGeom>
            <a:avLst/>
            <a:gdLst>
              <a:gd name="connsiteX0" fmla="*/ 28048 w 4777329"/>
              <a:gd name="connsiteY0" fmla="*/ 1408923 h 2817845"/>
              <a:gd name="connsiteX1" fmla="*/ 28048 w 4777329"/>
              <a:gd name="connsiteY1" fmla="*/ 1408923 h 2817845"/>
              <a:gd name="connsiteX2" fmla="*/ 56 w 4777329"/>
              <a:gd name="connsiteY2" fmla="*/ 1539551 h 2817845"/>
              <a:gd name="connsiteX3" fmla="*/ 18717 w 4777329"/>
              <a:gd name="connsiteY3" fmla="*/ 1604866 h 2817845"/>
              <a:gd name="connsiteX4" fmla="*/ 28048 w 4777329"/>
              <a:gd name="connsiteY4" fmla="*/ 1660849 h 2817845"/>
              <a:gd name="connsiteX5" fmla="*/ 37378 w 4777329"/>
              <a:gd name="connsiteY5" fmla="*/ 1688841 h 2817845"/>
              <a:gd name="connsiteX6" fmla="*/ 46709 w 4777329"/>
              <a:gd name="connsiteY6" fmla="*/ 1726164 h 2817845"/>
              <a:gd name="connsiteX7" fmla="*/ 74701 w 4777329"/>
              <a:gd name="connsiteY7" fmla="*/ 1744825 h 2817845"/>
              <a:gd name="connsiteX8" fmla="*/ 102693 w 4777329"/>
              <a:gd name="connsiteY8" fmla="*/ 1810139 h 2817845"/>
              <a:gd name="connsiteX9" fmla="*/ 121354 w 4777329"/>
              <a:gd name="connsiteY9" fmla="*/ 1866123 h 2817845"/>
              <a:gd name="connsiteX10" fmla="*/ 168007 w 4777329"/>
              <a:gd name="connsiteY10" fmla="*/ 1922107 h 2817845"/>
              <a:gd name="connsiteX11" fmla="*/ 233321 w 4777329"/>
              <a:gd name="connsiteY11" fmla="*/ 2006082 h 2817845"/>
              <a:gd name="connsiteX12" fmla="*/ 335958 w 4777329"/>
              <a:gd name="connsiteY12" fmla="*/ 2071396 h 2817845"/>
              <a:gd name="connsiteX13" fmla="*/ 363950 w 4777329"/>
              <a:gd name="connsiteY13" fmla="*/ 2090058 h 2817845"/>
              <a:gd name="connsiteX14" fmla="*/ 401272 w 4777329"/>
              <a:gd name="connsiteY14" fmla="*/ 2118049 h 2817845"/>
              <a:gd name="connsiteX15" fmla="*/ 429264 w 4777329"/>
              <a:gd name="connsiteY15" fmla="*/ 2127380 h 2817845"/>
              <a:gd name="connsiteX16" fmla="*/ 466586 w 4777329"/>
              <a:gd name="connsiteY16" fmla="*/ 2164703 h 2817845"/>
              <a:gd name="connsiteX17" fmla="*/ 513240 w 4777329"/>
              <a:gd name="connsiteY17" fmla="*/ 2192694 h 2817845"/>
              <a:gd name="connsiteX18" fmla="*/ 578554 w 4777329"/>
              <a:gd name="connsiteY18" fmla="*/ 2230017 h 2817845"/>
              <a:gd name="connsiteX19" fmla="*/ 615876 w 4777329"/>
              <a:gd name="connsiteY19" fmla="*/ 2267339 h 2817845"/>
              <a:gd name="connsiteX20" fmla="*/ 662529 w 4777329"/>
              <a:gd name="connsiteY20" fmla="*/ 2304662 h 2817845"/>
              <a:gd name="connsiteX21" fmla="*/ 681191 w 4777329"/>
              <a:gd name="connsiteY21" fmla="*/ 2332654 h 2817845"/>
              <a:gd name="connsiteX22" fmla="*/ 755835 w 4777329"/>
              <a:gd name="connsiteY22" fmla="*/ 2397968 h 2817845"/>
              <a:gd name="connsiteX23" fmla="*/ 802489 w 4777329"/>
              <a:gd name="connsiteY23" fmla="*/ 2491274 h 2817845"/>
              <a:gd name="connsiteX24" fmla="*/ 895795 w 4777329"/>
              <a:gd name="connsiteY24" fmla="*/ 2575249 h 2817845"/>
              <a:gd name="connsiteX25" fmla="*/ 933117 w 4777329"/>
              <a:gd name="connsiteY25" fmla="*/ 2612572 h 2817845"/>
              <a:gd name="connsiteX26" fmla="*/ 1035754 w 4777329"/>
              <a:gd name="connsiteY26" fmla="*/ 2677886 h 2817845"/>
              <a:gd name="connsiteX27" fmla="*/ 1119729 w 4777329"/>
              <a:gd name="connsiteY27" fmla="*/ 2724539 h 2817845"/>
              <a:gd name="connsiteX28" fmla="*/ 1138391 w 4777329"/>
              <a:gd name="connsiteY28" fmla="*/ 2752531 h 2817845"/>
              <a:gd name="connsiteX29" fmla="*/ 1250358 w 4777329"/>
              <a:gd name="connsiteY29" fmla="*/ 2799184 h 2817845"/>
              <a:gd name="connsiteX30" fmla="*/ 1278350 w 4777329"/>
              <a:gd name="connsiteY30" fmla="*/ 2817845 h 2817845"/>
              <a:gd name="connsiteX31" fmla="*/ 1660905 w 4777329"/>
              <a:gd name="connsiteY31" fmla="*/ 2799184 h 2817845"/>
              <a:gd name="connsiteX32" fmla="*/ 1688897 w 4777329"/>
              <a:gd name="connsiteY32" fmla="*/ 2789854 h 2817845"/>
              <a:gd name="connsiteX33" fmla="*/ 1726219 w 4777329"/>
              <a:gd name="connsiteY33" fmla="*/ 2771192 h 2817845"/>
              <a:gd name="connsiteX34" fmla="*/ 1763542 w 4777329"/>
              <a:gd name="connsiteY34" fmla="*/ 2743200 h 2817845"/>
              <a:gd name="connsiteX35" fmla="*/ 1838186 w 4777329"/>
              <a:gd name="connsiteY35" fmla="*/ 2677886 h 2817845"/>
              <a:gd name="connsiteX36" fmla="*/ 1866178 w 4777329"/>
              <a:gd name="connsiteY36" fmla="*/ 2631233 h 2817845"/>
              <a:gd name="connsiteX37" fmla="*/ 1922162 w 4777329"/>
              <a:gd name="connsiteY37" fmla="*/ 2603241 h 2817845"/>
              <a:gd name="connsiteX38" fmla="*/ 1950154 w 4777329"/>
              <a:gd name="connsiteY38" fmla="*/ 2584580 h 2817845"/>
              <a:gd name="connsiteX39" fmla="*/ 2015468 w 4777329"/>
              <a:gd name="connsiteY39" fmla="*/ 2519266 h 2817845"/>
              <a:gd name="connsiteX40" fmla="*/ 2043460 w 4777329"/>
              <a:gd name="connsiteY40" fmla="*/ 2500605 h 2817845"/>
              <a:gd name="connsiteX41" fmla="*/ 2080782 w 4777329"/>
              <a:gd name="connsiteY41" fmla="*/ 2481943 h 2817845"/>
              <a:gd name="connsiteX42" fmla="*/ 2146097 w 4777329"/>
              <a:gd name="connsiteY42" fmla="*/ 2416629 h 2817845"/>
              <a:gd name="connsiteX43" fmla="*/ 2220742 w 4777329"/>
              <a:gd name="connsiteY43" fmla="*/ 2351315 h 2817845"/>
              <a:gd name="connsiteX44" fmla="*/ 2258064 w 4777329"/>
              <a:gd name="connsiteY44" fmla="*/ 2304662 h 2817845"/>
              <a:gd name="connsiteX45" fmla="*/ 2295386 w 4777329"/>
              <a:gd name="connsiteY45" fmla="*/ 2276670 h 2817845"/>
              <a:gd name="connsiteX46" fmla="*/ 2314048 w 4777329"/>
              <a:gd name="connsiteY46" fmla="*/ 2248678 h 2817845"/>
              <a:gd name="connsiteX47" fmla="*/ 2342040 w 4777329"/>
              <a:gd name="connsiteY47" fmla="*/ 2230017 h 2817845"/>
              <a:gd name="connsiteX48" fmla="*/ 2388693 w 4777329"/>
              <a:gd name="connsiteY48" fmla="*/ 2183364 h 2817845"/>
              <a:gd name="connsiteX49" fmla="*/ 2528652 w 4777329"/>
              <a:gd name="connsiteY49" fmla="*/ 2118049 h 2817845"/>
              <a:gd name="connsiteX50" fmla="*/ 2603297 w 4777329"/>
              <a:gd name="connsiteY50" fmla="*/ 2099388 h 2817845"/>
              <a:gd name="connsiteX51" fmla="*/ 3200456 w 4777329"/>
              <a:gd name="connsiteY51" fmla="*/ 2099388 h 2817845"/>
              <a:gd name="connsiteX52" fmla="*/ 3265770 w 4777329"/>
              <a:gd name="connsiteY52" fmla="*/ 2071396 h 2817845"/>
              <a:gd name="connsiteX53" fmla="*/ 3349746 w 4777329"/>
              <a:gd name="connsiteY53" fmla="*/ 2015413 h 2817845"/>
              <a:gd name="connsiteX54" fmla="*/ 3387068 w 4777329"/>
              <a:gd name="connsiteY54" fmla="*/ 1987421 h 2817845"/>
              <a:gd name="connsiteX55" fmla="*/ 3443052 w 4777329"/>
              <a:gd name="connsiteY55" fmla="*/ 1959429 h 2817845"/>
              <a:gd name="connsiteX56" fmla="*/ 3471044 w 4777329"/>
              <a:gd name="connsiteY56" fmla="*/ 1922107 h 2817845"/>
              <a:gd name="connsiteX57" fmla="*/ 3508366 w 4777329"/>
              <a:gd name="connsiteY57" fmla="*/ 1894115 h 2817845"/>
              <a:gd name="connsiteX58" fmla="*/ 3517697 w 4777329"/>
              <a:gd name="connsiteY58" fmla="*/ 1856792 h 2817845"/>
              <a:gd name="connsiteX59" fmla="*/ 3620333 w 4777329"/>
              <a:gd name="connsiteY59" fmla="*/ 1800809 h 2817845"/>
              <a:gd name="connsiteX60" fmla="*/ 3704309 w 4777329"/>
              <a:gd name="connsiteY60" fmla="*/ 1744825 h 2817845"/>
              <a:gd name="connsiteX61" fmla="*/ 3806946 w 4777329"/>
              <a:gd name="connsiteY61" fmla="*/ 1726164 h 2817845"/>
              <a:gd name="connsiteX62" fmla="*/ 3900252 w 4777329"/>
              <a:gd name="connsiteY62" fmla="*/ 1698172 h 2817845"/>
              <a:gd name="connsiteX63" fmla="*/ 3946905 w 4777329"/>
              <a:gd name="connsiteY63" fmla="*/ 1670180 h 2817845"/>
              <a:gd name="connsiteX64" fmla="*/ 4049542 w 4777329"/>
              <a:gd name="connsiteY64" fmla="*/ 1651519 h 2817845"/>
              <a:gd name="connsiteX65" fmla="*/ 4114856 w 4777329"/>
              <a:gd name="connsiteY65" fmla="*/ 1604866 h 2817845"/>
              <a:gd name="connsiteX66" fmla="*/ 4236154 w 4777329"/>
              <a:gd name="connsiteY66" fmla="*/ 1558213 h 2817845"/>
              <a:gd name="connsiteX67" fmla="*/ 4310799 w 4777329"/>
              <a:gd name="connsiteY67" fmla="*/ 1530221 h 2817845"/>
              <a:gd name="connsiteX68" fmla="*/ 4385444 w 4777329"/>
              <a:gd name="connsiteY68" fmla="*/ 1474237 h 2817845"/>
              <a:gd name="connsiteX69" fmla="*/ 4441427 w 4777329"/>
              <a:gd name="connsiteY69" fmla="*/ 1399592 h 2817845"/>
              <a:gd name="connsiteX70" fmla="*/ 4497411 w 4777329"/>
              <a:gd name="connsiteY70" fmla="*/ 1324947 h 2817845"/>
              <a:gd name="connsiteX71" fmla="*/ 4544064 w 4777329"/>
              <a:gd name="connsiteY71" fmla="*/ 1259633 h 2817845"/>
              <a:gd name="connsiteX72" fmla="*/ 4553395 w 4777329"/>
              <a:gd name="connsiteY72" fmla="*/ 1231641 h 2817845"/>
              <a:gd name="connsiteX73" fmla="*/ 4590717 w 4777329"/>
              <a:gd name="connsiteY73" fmla="*/ 1194319 h 2817845"/>
              <a:gd name="connsiteX74" fmla="*/ 4628040 w 4777329"/>
              <a:gd name="connsiteY74" fmla="*/ 1119674 h 2817845"/>
              <a:gd name="connsiteX75" fmla="*/ 4674693 w 4777329"/>
              <a:gd name="connsiteY75" fmla="*/ 1063690 h 2817845"/>
              <a:gd name="connsiteX76" fmla="*/ 4712015 w 4777329"/>
              <a:gd name="connsiteY76" fmla="*/ 979715 h 2817845"/>
              <a:gd name="connsiteX77" fmla="*/ 4749337 w 4777329"/>
              <a:gd name="connsiteY77" fmla="*/ 905070 h 2817845"/>
              <a:gd name="connsiteX78" fmla="*/ 4758668 w 4777329"/>
              <a:gd name="connsiteY78" fmla="*/ 839756 h 2817845"/>
              <a:gd name="connsiteX79" fmla="*/ 4767999 w 4777329"/>
              <a:gd name="connsiteY79" fmla="*/ 746449 h 2817845"/>
              <a:gd name="connsiteX80" fmla="*/ 4777329 w 4777329"/>
              <a:gd name="connsiteY80" fmla="*/ 671805 h 2817845"/>
              <a:gd name="connsiteX81" fmla="*/ 4767999 w 4777329"/>
              <a:gd name="connsiteY81" fmla="*/ 429209 h 2817845"/>
              <a:gd name="connsiteX82" fmla="*/ 4730676 w 4777329"/>
              <a:gd name="connsiteY82" fmla="*/ 382556 h 2817845"/>
              <a:gd name="connsiteX83" fmla="*/ 4693354 w 4777329"/>
              <a:gd name="connsiteY83" fmla="*/ 317241 h 2817845"/>
              <a:gd name="connsiteX84" fmla="*/ 4646701 w 4777329"/>
              <a:gd name="connsiteY84" fmla="*/ 251927 h 2817845"/>
              <a:gd name="connsiteX85" fmla="*/ 4581386 w 4777329"/>
              <a:gd name="connsiteY85" fmla="*/ 186613 h 2817845"/>
              <a:gd name="connsiteX86" fmla="*/ 4562725 w 4777329"/>
              <a:gd name="connsiteY86" fmla="*/ 167951 h 2817845"/>
              <a:gd name="connsiteX87" fmla="*/ 4525403 w 4777329"/>
              <a:gd name="connsiteY87" fmla="*/ 130629 h 2817845"/>
              <a:gd name="connsiteX88" fmla="*/ 4478750 w 4777329"/>
              <a:gd name="connsiteY88" fmla="*/ 83976 h 2817845"/>
              <a:gd name="connsiteX89" fmla="*/ 4413435 w 4777329"/>
              <a:gd name="connsiteY89" fmla="*/ 46654 h 2817845"/>
              <a:gd name="connsiteX90" fmla="*/ 4385444 w 4777329"/>
              <a:gd name="connsiteY90" fmla="*/ 27992 h 2817845"/>
              <a:gd name="connsiteX91" fmla="*/ 4282807 w 4777329"/>
              <a:gd name="connsiteY91" fmla="*/ 0 h 2817845"/>
              <a:gd name="connsiteX92" fmla="*/ 4058872 w 4777329"/>
              <a:gd name="connsiteY92" fmla="*/ 9331 h 2817845"/>
              <a:gd name="connsiteX93" fmla="*/ 4030880 w 4777329"/>
              <a:gd name="connsiteY93" fmla="*/ 37323 h 2817845"/>
              <a:gd name="connsiteX94" fmla="*/ 3825607 w 4777329"/>
              <a:gd name="connsiteY94" fmla="*/ 195943 h 2817845"/>
              <a:gd name="connsiteX95" fmla="*/ 3760293 w 4777329"/>
              <a:gd name="connsiteY95" fmla="*/ 298580 h 2817845"/>
              <a:gd name="connsiteX96" fmla="*/ 3722970 w 4777329"/>
              <a:gd name="connsiteY96" fmla="*/ 363894 h 2817845"/>
              <a:gd name="connsiteX97" fmla="*/ 3676317 w 4777329"/>
              <a:gd name="connsiteY97" fmla="*/ 457200 h 2817845"/>
              <a:gd name="connsiteX98" fmla="*/ 3666986 w 4777329"/>
              <a:gd name="connsiteY98" fmla="*/ 485192 h 2817845"/>
              <a:gd name="connsiteX99" fmla="*/ 3648325 w 4777329"/>
              <a:gd name="connsiteY99" fmla="*/ 522515 h 2817845"/>
              <a:gd name="connsiteX100" fmla="*/ 3638995 w 4777329"/>
              <a:gd name="connsiteY100" fmla="*/ 578498 h 2817845"/>
              <a:gd name="connsiteX101" fmla="*/ 3620333 w 4777329"/>
              <a:gd name="connsiteY101" fmla="*/ 625151 h 2817845"/>
              <a:gd name="connsiteX102" fmla="*/ 3601672 w 4777329"/>
              <a:gd name="connsiteY102" fmla="*/ 681135 h 2817845"/>
              <a:gd name="connsiteX103" fmla="*/ 3592342 w 4777329"/>
              <a:gd name="connsiteY103" fmla="*/ 727788 h 2817845"/>
              <a:gd name="connsiteX104" fmla="*/ 3573680 w 4777329"/>
              <a:gd name="connsiteY104" fmla="*/ 755780 h 2817845"/>
              <a:gd name="connsiteX105" fmla="*/ 3564350 w 4777329"/>
              <a:gd name="connsiteY105" fmla="*/ 821094 h 2817845"/>
              <a:gd name="connsiteX106" fmla="*/ 3545689 w 4777329"/>
              <a:gd name="connsiteY106" fmla="*/ 839756 h 2817845"/>
              <a:gd name="connsiteX107" fmla="*/ 3517697 w 4777329"/>
              <a:gd name="connsiteY107" fmla="*/ 979715 h 2817845"/>
              <a:gd name="connsiteX108" fmla="*/ 3461713 w 4777329"/>
              <a:gd name="connsiteY108" fmla="*/ 1091682 h 2817845"/>
              <a:gd name="connsiteX109" fmla="*/ 3452382 w 4777329"/>
              <a:gd name="connsiteY109" fmla="*/ 1119674 h 2817845"/>
              <a:gd name="connsiteX110" fmla="*/ 3415060 w 4777329"/>
              <a:gd name="connsiteY110" fmla="*/ 1175658 h 2817845"/>
              <a:gd name="connsiteX111" fmla="*/ 3396399 w 4777329"/>
              <a:gd name="connsiteY111" fmla="*/ 1222311 h 2817845"/>
              <a:gd name="connsiteX112" fmla="*/ 3368407 w 4777329"/>
              <a:gd name="connsiteY112" fmla="*/ 1250303 h 2817845"/>
              <a:gd name="connsiteX113" fmla="*/ 3340415 w 4777329"/>
              <a:gd name="connsiteY113" fmla="*/ 1296956 h 2817845"/>
              <a:gd name="connsiteX114" fmla="*/ 3256440 w 4777329"/>
              <a:gd name="connsiteY114" fmla="*/ 1362270 h 2817845"/>
              <a:gd name="connsiteX115" fmla="*/ 3237778 w 4777329"/>
              <a:gd name="connsiteY115" fmla="*/ 1380931 h 2817845"/>
              <a:gd name="connsiteX116" fmla="*/ 3209786 w 4777329"/>
              <a:gd name="connsiteY116" fmla="*/ 1418254 h 2817845"/>
              <a:gd name="connsiteX117" fmla="*/ 3153803 w 4777329"/>
              <a:gd name="connsiteY117" fmla="*/ 1436915 h 2817845"/>
              <a:gd name="connsiteX118" fmla="*/ 3125811 w 4777329"/>
              <a:gd name="connsiteY118" fmla="*/ 1446245 h 2817845"/>
              <a:gd name="connsiteX119" fmla="*/ 3097819 w 4777329"/>
              <a:gd name="connsiteY119" fmla="*/ 1455576 h 2817845"/>
              <a:gd name="connsiteX120" fmla="*/ 2985852 w 4777329"/>
              <a:gd name="connsiteY120" fmla="*/ 1464907 h 2817845"/>
              <a:gd name="connsiteX121" fmla="*/ 2500660 w 4777329"/>
              <a:gd name="connsiteY121" fmla="*/ 1455576 h 2817845"/>
              <a:gd name="connsiteX122" fmla="*/ 2398023 w 4777329"/>
              <a:gd name="connsiteY122" fmla="*/ 1436915 h 2817845"/>
              <a:gd name="connsiteX123" fmla="*/ 2295386 w 4777329"/>
              <a:gd name="connsiteY123" fmla="*/ 1427584 h 2817845"/>
              <a:gd name="connsiteX124" fmla="*/ 1894170 w 4777329"/>
              <a:gd name="connsiteY124" fmla="*/ 1455576 h 2817845"/>
              <a:gd name="connsiteX125" fmla="*/ 1847517 w 4777329"/>
              <a:gd name="connsiteY125" fmla="*/ 1483568 h 2817845"/>
              <a:gd name="connsiteX126" fmla="*/ 1791533 w 4777329"/>
              <a:gd name="connsiteY126" fmla="*/ 1520890 h 2817845"/>
              <a:gd name="connsiteX127" fmla="*/ 1726219 w 4777329"/>
              <a:gd name="connsiteY127" fmla="*/ 1614196 h 2817845"/>
              <a:gd name="connsiteX128" fmla="*/ 1670235 w 4777329"/>
              <a:gd name="connsiteY128" fmla="*/ 1670180 h 2817845"/>
              <a:gd name="connsiteX129" fmla="*/ 1632913 w 4777329"/>
              <a:gd name="connsiteY129" fmla="*/ 1698172 h 2817845"/>
              <a:gd name="connsiteX130" fmla="*/ 1586260 w 4777329"/>
              <a:gd name="connsiteY130" fmla="*/ 1735494 h 2817845"/>
              <a:gd name="connsiteX131" fmla="*/ 1539607 w 4777329"/>
              <a:gd name="connsiteY131" fmla="*/ 1772817 h 2817845"/>
              <a:gd name="connsiteX132" fmla="*/ 1492954 w 4777329"/>
              <a:gd name="connsiteY132" fmla="*/ 1810139 h 2817845"/>
              <a:gd name="connsiteX133" fmla="*/ 1464962 w 4777329"/>
              <a:gd name="connsiteY133" fmla="*/ 1828800 h 2817845"/>
              <a:gd name="connsiteX134" fmla="*/ 1436970 w 4777329"/>
              <a:gd name="connsiteY134" fmla="*/ 1791478 h 2817845"/>
              <a:gd name="connsiteX135" fmla="*/ 1408978 w 4777329"/>
              <a:gd name="connsiteY135" fmla="*/ 1772817 h 2817845"/>
              <a:gd name="connsiteX136" fmla="*/ 1334333 w 4777329"/>
              <a:gd name="connsiteY136" fmla="*/ 1707503 h 2817845"/>
              <a:gd name="connsiteX137" fmla="*/ 1278350 w 4777329"/>
              <a:gd name="connsiteY137" fmla="*/ 1670180 h 2817845"/>
              <a:gd name="connsiteX138" fmla="*/ 1250358 w 4777329"/>
              <a:gd name="connsiteY138" fmla="*/ 1632858 h 2817845"/>
              <a:gd name="connsiteX139" fmla="*/ 1185044 w 4777329"/>
              <a:gd name="connsiteY139" fmla="*/ 1595535 h 2817845"/>
              <a:gd name="connsiteX140" fmla="*/ 1101068 w 4777329"/>
              <a:gd name="connsiteY140" fmla="*/ 1511560 h 2817845"/>
              <a:gd name="connsiteX141" fmla="*/ 1035754 w 4777329"/>
              <a:gd name="connsiteY141" fmla="*/ 1446245 h 2817845"/>
              <a:gd name="connsiteX142" fmla="*/ 970440 w 4777329"/>
              <a:gd name="connsiteY142" fmla="*/ 1399592 h 2817845"/>
              <a:gd name="connsiteX143" fmla="*/ 895795 w 4777329"/>
              <a:gd name="connsiteY143" fmla="*/ 1352939 h 2817845"/>
              <a:gd name="connsiteX144" fmla="*/ 877133 w 4777329"/>
              <a:gd name="connsiteY144" fmla="*/ 1334278 h 2817845"/>
              <a:gd name="connsiteX145" fmla="*/ 849142 w 4777329"/>
              <a:gd name="connsiteY145" fmla="*/ 1315617 h 2817845"/>
              <a:gd name="connsiteX146" fmla="*/ 821150 w 4777329"/>
              <a:gd name="connsiteY146" fmla="*/ 1287625 h 2817845"/>
              <a:gd name="connsiteX147" fmla="*/ 699852 w 4777329"/>
              <a:gd name="connsiteY147" fmla="*/ 1212980 h 2817845"/>
              <a:gd name="connsiteX148" fmla="*/ 671860 w 4777329"/>
              <a:gd name="connsiteY148" fmla="*/ 1203649 h 2817845"/>
              <a:gd name="connsiteX149" fmla="*/ 578554 w 4777329"/>
              <a:gd name="connsiteY149" fmla="*/ 1147666 h 2817845"/>
              <a:gd name="connsiteX150" fmla="*/ 494578 w 4777329"/>
              <a:gd name="connsiteY150" fmla="*/ 1138335 h 2817845"/>
              <a:gd name="connsiteX151" fmla="*/ 317297 w 4777329"/>
              <a:gd name="connsiteY151" fmla="*/ 1147666 h 2817845"/>
              <a:gd name="connsiteX152" fmla="*/ 298635 w 4777329"/>
              <a:gd name="connsiteY152" fmla="*/ 1175658 h 2817845"/>
              <a:gd name="connsiteX153" fmla="*/ 242652 w 4777329"/>
              <a:gd name="connsiteY153" fmla="*/ 1203649 h 2817845"/>
              <a:gd name="connsiteX154" fmla="*/ 186668 w 4777329"/>
              <a:gd name="connsiteY154" fmla="*/ 1250303 h 2817845"/>
              <a:gd name="connsiteX155" fmla="*/ 130684 w 4777329"/>
              <a:gd name="connsiteY155" fmla="*/ 1287625 h 2817845"/>
              <a:gd name="connsiteX156" fmla="*/ 93362 w 4777329"/>
              <a:gd name="connsiteY156" fmla="*/ 1343609 h 2817845"/>
              <a:gd name="connsiteX157" fmla="*/ 74701 w 4777329"/>
              <a:gd name="connsiteY157" fmla="*/ 1371600 h 2817845"/>
              <a:gd name="connsiteX158" fmla="*/ 28048 w 4777329"/>
              <a:gd name="connsiteY158" fmla="*/ 1408923 h 2817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</a:cxnLst>
            <a:rect l="l" t="t" r="r" b="b"/>
            <a:pathLst>
              <a:path w="4777329" h="2817845">
                <a:moveTo>
                  <a:pt x="28048" y="1408923"/>
                </a:moveTo>
                <a:lnTo>
                  <a:pt x="28048" y="1408923"/>
                </a:lnTo>
                <a:cubicBezTo>
                  <a:pt x="18717" y="1452466"/>
                  <a:pt x="2174" y="1495070"/>
                  <a:pt x="56" y="1539551"/>
                </a:cubicBezTo>
                <a:cubicBezTo>
                  <a:pt x="-1021" y="1562168"/>
                  <a:pt x="13626" y="1582803"/>
                  <a:pt x="18717" y="1604866"/>
                </a:cubicBezTo>
                <a:cubicBezTo>
                  <a:pt x="22971" y="1623300"/>
                  <a:pt x="23944" y="1642381"/>
                  <a:pt x="28048" y="1660849"/>
                </a:cubicBezTo>
                <a:cubicBezTo>
                  <a:pt x="30182" y="1670450"/>
                  <a:pt x="34676" y="1679384"/>
                  <a:pt x="37378" y="1688841"/>
                </a:cubicBezTo>
                <a:cubicBezTo>
                  <a:pt x="40901" y="1701172"/>
                  <a:pt x="39596" y="1715494"/>
                  <a:pt x="46709" y="1726164"/>
                </a:cubicBezTo>
                <a:cubicBezTo>
                  <a:pt x="52929" y="1735495"/>
                  <a:pt x="65370" y="1738605"/>
                  <a:pt x="74701" y="1744825"/>
                </a:cubicBezTo>
                <a:cubicBezTo>
                  <a:pt x="99381" y="1843552"/>
                  <a:pt x="65872" y="1727293"/>
                  <a:pt x="102693" y="1810139"/>
                </a:cubicBezTo>
                <a:cubicBezTo>
                  <a:pt x="110682" y="1828114"/>
                  <a:pt x="107445" y="1852214"/>
                  <a:pt x="121354" y="1866123"/>
                </a:cubicBezTo>
                <a:cubicBezTo>
                  <a:pt x="172563" y="1917332"/>
                  <a:pt x="129035" y="1870144"/>
                  <a:pt x="168007" y="1922107"/>
                </a:cubicBezTo>
                <a:cubicBezTo>
                  <a:pt x="189284" y="1950476"/>
                  <a:pt x="204952" y="1984805"/>
                  <a:pt x="233321" y="2006082"/>
                </a:cubicBezTo>
                <a:cubicBezTo>
                  <a:pt x="300018" y="2056104"/>
                  <a:pt x="242123" y="2015095"/>
                  <a:pt x="335958" y="2071396"/>
                </a:cubicBezTo>
                <a:cubicBezTo>
                  <a:pt x="345574" y="2077166"/>
                  <a:pt x="354825" y="2083540"/>
                  <a:pt x="363950" y="2090058"/>
                </a:cubicBezTo>
                <a:cubicBezTo>
                  <a:pt x="376604" y="2099097"/>
                  <a:pt x="387770" y="2110334"/>
                  <a:pt x="401272" y="2118049"/>
                </a:cubicBezTo>
                <a:cubicBezTo>
                  <a:pt x="409812" y="2122929"/>
                  <a:pt x="419933" y="2124270"/>
                  <a:pt x="429264" y="2127380"/>
                </a:cubicBezTo>
                <a:cubicBezTo>
                  <a:pt x="441705" y="2139821"/>
                  <a:pt x="452698" y="2153901"/>
                  <a:pt x="466586" y="2164703"/>
                </a:cubicBezTo>
                <a:cubicBezTo>
                  <a:pt x="480901" y="2175837"/>
                  <a:pt x="497387" y="2183887"/>
                  <a:pt x="513240" y="2192694"/>
                </a:cubicBezTo>
                <a:cubicBezTo>
                  <a:pt x="538314" y="2206624"/>
                  <a:pt x="556950" y="2211499"/>
                  <a:pt x="578554" y="2230017"/>
                </a:cubicBezTo>
                <a:cubicBezTo>
                  <a:pt x="591912" y="2241467"/>
                  <a:pt x="602726" y="2255650"/>
                  <a:pt x="615876" y="2267339"/>
                </a:cubicBezTo>
                <a:cubicBezTo>
                  <a:pt x="630761" y="2280570"/>
                  <a:pt x="648447" y="2290580"/>
                  <a:pt x="662529" y="2304662"/>
                </a:cubicBezTo>
                <a:cubicBezTo>
                  <a:pt x="670459" y="2312592"/>
                  <a:pt x="673893" y="2324140"/>
                  <a:pt x="681191" y="2332654"/>
                </a:cubicBezTo>
                <a:cubicBezTo>
                  <a:pt x="710182" y="2366477"/>
                  <a:pt x="721521" y="2372232"/>
                  <a:pt x="755835" y="2397968"/>
                </a:cubicBezTo>
                <a:cubicBezTo>
                  <a:pt x="771386" y="2429070"/>
                  <a:pt x="775336" y="2469551"/>
                  <a:pt x="802489" y="2491274"/>
                </a:cubicBezTo>
                <a:cubicBezTo>
                  <a:pt x="866312" y="2542332"/>
                  <a:pt x="835064" y="2514517"/>
                  <a:pt x="895795" y="2575249"/>
                </a:cubicBezTo>
                <a:cubicBezTo>
                  <a:pt x="908236" y="2587690"/>
                  <a:pt x="918274" y="2603126"/>
                  <a:pt x="933117" y="2612572"/>
                </a:cubicBezTo>
                <a:cubicBezTo>
                  <a:pt x="967329" y="2634343"/>
                  <a:pt x="1004088" y="2652553"/>
                  <a:pt x="1035754" y="2677886"/>
                </a:cubicBezTo>
                <a:cubicBezTo>
                  <a:pt x="1092420" y="2723220"/>
                  <a:pt x="1063086" y="2710379"/>
                  <a:pt x="1119729" y="2724539"/>
                </a:cubicBezTo>
                <a:cubicBezTo>
                  <a:pt x="1125950" y="2733870"/>
                  <a:pt x="1129877" y="2745233"/>
                  <a:pt x="1138391" y="2752531"/>
                </a:cubicBezTo>
                <a:cubicBezTo>
                  <a:pt x="1174730" y="2783678"/>
                  <a:pt x="1204725" y="2786146"/>
                  <a:pt x="1250358" y="2799184"/>
                </a:cubicBezTo>
                <a:cubicBezTo>
                  <a:pt x="1259689" y="2805404"/>
                  <a:pt x="1267136" y="2817845"/>
                  <a:pt x="1278350" y="2817845"/>
                </a:cubicBezTo>
                <a:cubicBezTo>
                  <a:pt x="1406020" y="2817845"/>
                  <a:pt x="1533531" y="2807868"/>
                  <a:pt x="1660905" y="2799184"/>
                </a:cubicBezTo>
                <a:cubicBezTo>
                  <a:pt x="1670718" y="2798515"/>
                  <a:pt x="1679857" y="2793728"/>
                  <a:pt x="1688897" y="2789854"/>
                </a:cubicBezTo>
                <a:cubicBezTo>
                  <a:pt x="1701682" y="2784375"/>
                  <a:pt x="1714424" y="2778564"/>
                  <a:pt x="1726219" y="2771192"/>
                </a:cubicBezTo>
                <a:cubicBezTo>
                  <a:pt x="1739406" y="2762950"/>
                  <a:pt x="1752546" y="2754196"/>
                  <a:pt x="1763542" y="2743200"/>
                </a:cubicBezTo>
                <a:cubicBezTo>
                  <a:pt x="1841301" y="2665442"/>
                  <a:pt x="1679557" y="2783642"/>
                  <a:pt x="1838186" y="2677886"/>
                </a:cubicBezTo>
                <a:cubicBezTo>
                  <a:pt x="1847517" y="2662335"/>
                  <a:pt x="1852623" y="2643282"/>
                  <a:pt x="1866178" y="2631233"/>
                </a:cubicBezTo>
                <a:cubicBezTo>
                  <a:pt x="1881772" y="2617372"/>
                  <a:pt x="1903924" y="2613373"/>
                  <a:pt x="1922162" y="2603241"/>
                </a:cubicBezTo>
                <a:cubicBezTo>
                  <a:pt x="1931965" y="2597795"/>
                  <a:pt x="1941819" y="2592082"/>
                  <a:pt x="1950154" y="2584580"/>
                </a:cubicBezTo>
                <a:cubicBezTo>
                  <a:pt x="1973040" y="2563983"/>
                  <a:pt x="1989850" y="2536345"/>
                  <a:pt x="2015468" y="2519266"/>
                </a:cubicBezTo>
                <a:cubicBezTo>
                  <a:pt x="2024799" y="2513046"/>
                  <a:pt x="2033724" y="2506169"/>
                  <a:pt x="2043460" y="2500605"/>
                </a:cubicBezTo>
                <a:cubicBezTo>
                  <a:pt x="2055537" y="2493704"/>
                  <a:pt x="2070017" y="2490751"/>
                  <a:pt x="2080782" y="2481943"/>
                </a:cubicBezTo>
                <a:cubicBezTo>
                  <a:pt x="2104612" y="2462446"/>
                  <a:pt x="2122444" y="2436340"/>
                  <a:pt x="2146097" y="2416629"/>
                </a:cubicBezTo>
                <a:cubicBezTo>
                  <a:pt x="2159342" y="2405591"/>
                  <a:pt x="2202828" y="2372214"/>
                  <a:pt x="2220742" y="2351315"/>
                </a:cubicBezTo>
                <a:cubicBezTo>
                  <a:pt x="2233703" y="2336195"/>
                  <a:pt x="2243982" y="2318744"/>
                  <a:pt x="2258064" y="2304662"/>
                </a:cubicBezTo>
                <a:cubicBezTo>
                  <a:pt x="2269060" y="2293666"/>
                  <a:pt x="2284390" y="2287666"/>
                  <a:pt x="2295386" y="2276670"/>
                </a:cubicBezTo>
                <a:cubicBezTo>
                  <a:pt x="2303316" y="2268740"/>
                  <a:pt x="2306118" y="2256608"/>
                  <a:pt x="2314048" y="2248678"/>
                </a:cubicBezTo>
                <a:cubicBezTo>
                  <a:pt x="2321978" y="2240749"/>
                  <a:pt x="2333601" y="2237401"/>
                  <a:pt x="2342040" y="2230017"/>
                </a:cubicBezTo>
                <a:cubicBezTo>
                  <a:pt x="2358591" y="2215535"/>
                  <a:pt x="2371520" y="2197103"/>
                  <a:pt x="2388693" y="2183364"/>
                </a:cubicBezTo>
                <a:cubicBezTo>
                  <a:pt x="2420397" y="2158001"/>
                  <a:pt x="2499176" y="2125418"/>
                  <a:pt x="2528652" y="2118049"/>
                </a:cubicBezTo>
                <a:lnTo>
                  <a:pt x="2603297" y="2099388"/>
                </a:lnTo>
                <a:cubicBezTo>
                  <a:pt x="2850400" y="2112745"/>
                  <a:pt x="2966735" y="2133759"/>
                  <a:pt x="3200456" y="2099388"/>
                </a:cubicBezTo>
                <a:cubicBezTo>
                  <a:pt x="3223890" y="2095942"/>
                  <a:pt x="3243999" y="2080727"/>
                  <a:pt x="3265770" y="2071396"/>
                </a:cubicBezTo>
                <a:cubicBezTo>
                  <a:pt x="3319235" y="2017933"/>
                  <a:pt x="3265011" y="2066255"/>
                  <a:pt x="3349746" y="2015413"/>
                </a:cubicBezTo>
                <a:cubicBezTo>
                  <a:pt x="3363081" y="2007412"/>
                  <a:pt x="3373733" y="1995422"/>
                  <a:pt x="3387068" y="1987421"/>
                </a:cubicBezTo>
                <a:cubicBezTo>
                  <a:pt x="3404959" y="1976687"/>
                  <a:pt x="3424391" y="1968760"/>
                  <a:pt x="3443052" y="1959429"/>
                </a:cubicBezTo>
                <a:cubicBezTo>
                  <a:pt x="3452383" y="1946988"/>
                  <a:pt x="3460048" y="1933103"/>
                  <a:pt x="3471044" y="1922107"/>
                </a:cubicBezTo>
                <a:cubicBezTo>
                  <a:pt x="3482040" y="1911111"/>
                  <a:pt x="3499327" y="1906769"/>
                  <a:pt x="3508366" y="1894115"/>
                </a:cubicBezTo>
                <a:cubicBezTo>
                  <a:pt x="3515820" y="1883680"/>
                  <a:pt x="3509252" y="1866443"/>
                  <a:pt x="3517697" y="1856792"/>
                </a:cubicBezTo>
                <a:cubicBezTo>
                  <a:pt x="3554857" y="1814324"/>
                  <a:pt x="3577321" y="1824704"/>
                  <a:pt x="3620333" y="1800809"/>
                </a:cubicBezTo>
                <a:cubicBezTo>
                  <a:pt x="3690857" y="1761629"/>
                  <a:pt x="3622522" y="1781175"/>
                  <a:pt x="3704309" y="1744825"/>
                </a:cubicBezTo>
                <a:cubicBezTo>
                  <a:pt x="3725151" y="1735562"/>
                  <a:pt x="3793791" y="1728043"/>
                  <a:pt x="3806946" y="1726164"/>
                </a:cubicBezTo>
                <a:cubicBezTo>
                  <a:pt x="3838048" y="1716833"/>
                  <a:pt x="3870103" y="1710232"/>
                  <a:pt x="3900252" y="1698172"/>
                </a:cubicBezTo>
                <a:cubicBezTo>
                  <a:pt x="3917090" y="1691437"/>
                  <a:pt x="3929595" y="1675589"/>
                  <a:pt x="3946905" y="1670180"/>
                </a:cubicBezTo>
                <a:cubicBezTo>
                  <a:pt x="3980095" y="1659808"/>
                  <a:pt x="4015330" y="1657739"/>
                  <a:pt x="4049542" y="1651519"/>
                </a:cubicBezTo>
                <a:cubicBezTo>
                  <a:pt x="4071313" y="1635968"/>
                  <a:pt x="4090926" y="1616831"/>
                  <a:pt x="4114856" y="1604866"/>
                </a:cubicBezTo>
                <a:cubicBezTo>
                  <a:pt x="4153603" y="1585493"/>
                  <a:pt x="4236154" y="1558213"/>
                  <a:pt x="4236154" y="1558213"/>
                </a:cubicBezTo>
                <a:cubicBezTo>
                  <a:pt x="4281078" y="1513287"/>
                  <a:pt x="4218427" y="1568710"/>
                  <a:pt x="4310799" y="1530221"/>
                </a:cubicBezTo>
                <a:cubicBezTo>
                  <a:pt x="4346968" y="1515151"/>
                  <a:pt x="4361566" y="1498114"/>
                  <a:pt x="4385444" y="1474237"/>
                </a:cubicBezTo>
                <a:cubicBezTo>
                  <a:pt x="4407260" y="1408785"/>
                  <a:pt x="4375451" y="1490309"/>
                  <a:pt x="4441427" y="1399592"/>
                </a:cubicBezTo>
                <a:cubicBezTo>
                  <a:pt x="4503559" y="1314162"/>
                  <a:pt x="4436405" y="1365619"/>
                  <a:pt x="4497411" y="1324947"/>
                </a:cubicBezTo>
                <a:cubicBezTo>
                  <a:pt x="4512962" y="1303176"/>
                  <a:pt x="4530299" y="1282575"/>
                  <a:pt x="4544064" y="1259633"/>
                </a:cubicBezTo>
                <a:cubicBezTo>
                  <a:pt x="4549124" y="1251199"/>
                  <a:pt x="4547678" y="1239644"/>
                  <a:pt x="4553395" y="1231641"/>
                </a:cubicBezTo>
                <a:cubicBezTo>
                  <a:pt x="4563621" y="1217324"/>
                  <a:pt x="4578276" y="1206760"/>
                  <a:pt x="4590717" y="1194319"/>
                </a:cubicBezTo>
                <a:cubicBezTo>
                  <a:pt x="4603158" y="1169437"/>
                  <a:pt x="4608370" y="1139345"/>
                  <a:pt x="4628040" y="1119674"/>
                </a:cubicBezTo>
                <a:cubicBezTo>
                  <a:pt x="4663960" y="1083752"/>
                  <a:pt x="4648711" y="1102661"/>
                  <a:pt x="4674693" y="1063690"/>
                </a:cubicBezTo>
                <a:cubicBezTo>
                  <a:pt x="4711721" y="952606"/>
                  <a:pt x="4673994" y="1049422"/>
                  <a:pt x="4712015" y="979715"/>
                </a:cubicBezTo>
                <a:cubicBezTo>
                  <a:pt x="4725336" y="955293"/>
                  <a:pt x="4749337" y="905070"/>
                  <a:pt x="4749337" y="905070"/>
                </a:cubicBezTo>
                <a:cubicBezTo>
                  <a:pt x="4752447" y="883299"/>
                  <a:pt x="4756098" y="861598"/>
                  <a:pt x="4758668" y="839756"/>
                </a:cubicBezTo>
                <a:cubicBezTo>
                  <a:pt x="4762320" y="808713"/>
                  <a:pt x="4764547" y="777515"/>
                  <a:pt x="4767999" y="746449"/>
                </a:cubicBezTo>
                <a:cubicBezTo>
                  <a:pt x="4770768" y="721527"/>
                  <a:pt x="4774219" y="696686"/>
                  <a:pt x="4777329" y="671805"/>
                </a:cubicBezTo>
                <a:cubicBezTo>
                  <a:pt x="4774219" y="590940"/>
                  <a:pt x="4780885" y="509102"/>
                  <a:pt x="4767999" y="429209"/>
                </a:cubicBezTo>
                <a:cubicBezTo>
                  <a:pt x="4764828" y="409548"/>
                  <a:pt x="4741723" y="399126"/>
                  <a:pt x="4730676" y="382556"/>
                </a:cubicBezTo>
                <a:cubicBezTo>
                  <a:pt x="4716767" y="361692"/>
                  <a:pt x="4706914" y="338334"/>
                  <a:pt x="4693354" y="317241"/>
                </a:cubicBezTo>
                <a:cubicBezTo>
                  <a:pt x="4678886" y="294735"/>
                  <a:pt x="4664113" y="272241"/>
                  <a:pt x="4646701" y="251927"/>
                </a:cubicBezTo>
                <a:cubicBezTo>
                  <a:pt x="4626663" y="228550"/>
                  <a:pt x="4603158" y="208385"/>
                  <a:pt x="4581386" y="186613"/>
                </a:cubicBezTo>
                <a:lnTo>
                  <a:pt x="4562725" y="167951"/>
                </a:lnTo>
                <a:lnTo>
                  <a:pt x="4525403" y="130629"/>
                </a:lnTo>
                <a:cubicBezTo>
                  <a:pt x="4509852" y="115078"/>
                  <a:pt x="4497845" y="94887"/>
                  <a:pt x="4478750" y="83976"/>
                </a:cubicBezTo>
                <a:cubicBezTo>
                  <a:pt x="4456978" y="71535"/>
                  <a:pt x="4434937" y="59555"/>
                  <a:pt x="4413435" y="46654"/>
                </a:cubicBezTo>
                <a:cubicBezTo>
                  <a:pt x="4403819" y="40884"/>
                  <a:pt x="4395856" y="32157"/>
                  <a:pt x="4385444" y="27992"/>
                </a:cubicBezTo>
                <a:cubicBezTo>
                  <a:pt x="4366967" y="20601"/>
                  <a:pt x="4308587" y="6445"/>
                  <a:pt x="4282807" y="0"/>
                </a:cubicBezTo>
                <a:cubicBezTo>
                  <a:pt x="4208162" y="3110"/>
                  <a:pt x="4132775" y="-1618"/>
                  <a:pt x="4058872" y="9331"/>
                </a:cubicBezTo>
                <a:cubicBezTo>
                  <a:pt x="4045819" y="11265"/>
                  <a:pt x="4041436" y="29406"/>
                  <a:pt x="4030880" y="37323"/>
                </a:cubicBezTo>
                <a:cubicBezTo>
                  <a:pt x="3957855" y="92092"/>
                  <a:pt x="3882831" y="127273"/>
                  <a:pt x="3825607" y="195943"/>
                </a:cubicBezTo>
                <a:cubicBezTo>
                  <a:pt x="3763993" y="269881"/>
                  <a:pt x="3794494" y="238729"/>
                  <a:pt x="3760293" y="298580"/>
                </a:cubicBezTo>
                <a:cubicBezTo>
                  <a:pt x="3741637" y="331227"/>
                  <a:pt x="3737069" y="325122"/>
                  <a:pt x="3722970" y="363894"/>
                </a:cubicBezTo>
                <a:cubicBezTo>
                  <a:pt x="3691133" y="451448"/>
                  <a:pt x="3725886" y="407633"/>
                  <a:pt x="3676317" y="457200"/>
                </a:cubicBezTo>
                <a:cubicBezTo>
                  <a:pt x="3673207" y="466531"/>
                  <a:pt x="3670860" y="476152"/>
                  <a:pt x="3666986" y="485192"/>
                </a:cubicBezTo>
                <a:cubicBezTo>
                  <a:pt x="3661507" y="497977"/>
                  <a:pt x="3652322" y="509192"/>
                  <a:pt x="3648325" y="522515"/>
                </a:cubicBezTo>
                <a:cubicBezTo>
                  <a:pt x="3642889" y="540636"/>
                  <a:pt x="3643973" y="560246"/>
                  <a:pt x="3638995" y="578498"/>
                </a:cubicBezTo>
                <a:cubicBezTo>
                  <a:pt x="3634588" y="594657"/>
                  <a:pt x="3626057" y="609410"/>
                  <a:pt x="3620333" y="625151"/>
                </a:cubicBezTo>
                <a:cubicBezTo>
                  <a:pt x="3613611" y="643637"/>
                  <a:pt x="3606848" y="662157"/>
                  <a:pt x="3601672" y="681135"/>
                </a:cubicBezTo>
                <a:cubicBezTo>
                  <a:pt x="3597499" y="696435"/>
                  <a:pt x="3597910" y="712939"/>
                  <a:pt x="3592342" y="727788"/>
                </a:cubicBezTo>
                <a:cubicBezTo>
                  <a:pt x="3588404" y="738288"/>
                  <a:pt x="3579901" y="746449"/>
                  <a:pt x="3573680" y="755780"/>
                </a:cubicBezTo>
                <a:cubicBezTo>
                  <a:pt x="3570570" y="777551"/>
                  <a:pt x="3571304" y="800230"/>
                  <a:pt x="3564350" y="821094"/>
                </a:cubicBezTo>
                <a:cubicBezTo>
                  <a:pt x="3561568" y="829440"/>
                  <a:pt x="3548171" y="831316"/>
                  <a:pt x="3545689" y="839756"/>
                </a:cubicBezTo>
                <a:cubicBezTo>
                  <a:pt x="3532264" y="885400"/>
                  <a:pt x="3532743" y="934580"/>
                  <a:pt x="3517697" y="979715"/>
                </a:cubicBezTo>
                <a:cubicBezTo>
                  <a:pt x="3495080" y="1047563"/>
                  <a:pt x="3523429" y="968251"/>
                  <a:pt x="3461713" y="1091682"/>
                </a:cubicBezTo>
                <a:cubicBezTo>
                  <a:pt x="3457314" y="1100479"/>
                  <a:pt x="3457158" y="1111076"/>
                  <a:pt x="3452382" y="1119674"/>
                </a:cubicBezTo>
                <a:cubicBezTo>
                  <a:pt x="3441490" y="1139280"/>
                  <a:pt x="3425800" y="1155968"/>
                  <a:pt x="3415060" y="1175658"/>
                </a:cubicBezTo>
                <a:cubicBezTo>
                  <a:pt x="3407040" y="1190362"/>
                  <a:pt x="3405276" y="1208108"/>
                  <a:pt x="3396399" y="1222311"/>
                </a:cubicBezTo>
                <a:cubicBezTo>
                  <a:pt x="3389405" y="1233501"/>
                  <a:pt x="3376324" y="1239747"/>
                  <a:pt x="3368407" y="1250303"/>
                </a:cubicBezTo>
                <a:cubicBezTo>
                  <a:pt x="3357526" y="1264811"/>
                  <a:pt x="3351899" y="1282920"/>
                  <a:pt x="3340415" y="1296956"/>
                </a:cubicBezTo>
                <a:cubicBezTo>
                  <a:pt x="3293212" y="1354648"/>
                  <a:pt x="3303603" y="1346548"/>
                  <a:pt x="3256440" y="1362270"/>
                </a:cubicBezTo>
                <a:cubicBezTo>
                  <a:pt x="3250219" y="1368490"/>
                  <a:pt x="3243410" y="1374173"/>
                  <a:pt x="3237778" y="1380931"/>
                </a:cubicBezTo>
                <a:cubicBezTo>
                  <a:pt x="3227822" y="1392878"/>
                  <a:pt x="3222725" y="1409628"/>
                  <a:pt x="3209786" y="1418254"/>
                </a:cubicBezTo>
                <a:cubicBezTo>
                  <a:pt x="3193419" y="1429165"/>
                  <a:pt x="3172464" y="1430695"/>
                  <a:pt x="3153803" y="1436915"/>
                </a:cubicBezTo>
                <a:lnTo>
                  <a:pt x="3125811" y="1446245"/>
                </a:lnTo>
                <a:cubicBezTo>
                  <a:pt x="3116480" y="1449355"/>
                  <a:pt x="3107620" y="1454759"/>
                  <a:pt x="3097819" y="1455576"/>
                </a:cubicBezTo>
                <a:lnTo>
                  <a:pt x="2985852" y="1464907"/>
                </a:lnTo>
                <a:cubicBezTo>
                  <a:pt x="2824121" y="1461797"/>
                  <a:pt x="2662237" y="1463270"/>
                  <a:pt x="2500660" y="1455576"/>
                </a:cubicBezTo>
                <a:cubicBezTo>
                  <a:pt x="2465926" y="1453922"/>
                  <a:pt x="2432477" y="1441613"/>
                  <a:pt x="2398023" y="1436915"/>
                </a:cubicBezTo>
                <a:cubicBezTo>
                  <a:pt x="2363985" y="1432273"/>
                  <a:pt x="2329598" y="1430694"/>
                  <a:pt x="2295386" y="1427584"/>
                </a:cubicBezTo>
                <a:cubicBezTo>
                  <a:pt x="2161647" y="1436915"/>
                  <a:pt x="2027198" y="1438947"/>
                  <a:pt x="1894170" y="1455576"/>
                </a:cubicBezTo>
                <a:cubicBezTo>
                  <a:pt x="1876175" y="1457825"/>
                  <a:pt x="1862817" y="1473832"/>
                  <a:pt x="1847517" y="1483568"/>
                </a:cubicBezTo>
                <a:cubicBezTo>
                  <a:pt x="1828595" y="1495609"/>
                  <a:pt x="1791533" y="1520890"/>
                  <a:pt x="1791533" y="1520890"/>
                </a:cubicBezTo>
                <a:cubicBezTo>
                  <a:pt x="1765826" y="1572306"/>
                  <a:pt x="1775111" y="1560860"/>
                  <a:pt x="1726219" y="1614196"/>
                </a:cubicBezTo>
                <a:cubicBezTo>
                  <a:pt x="1708386" y="1633650"/>
                  <a:pt x="1691348" y="1654345"/>
                  <a:pt x="1670235" y="1670180"/>
                </a:cubicBezTo>
                <a:cubicBezTo>
                  <a:pt x="1657794" y="1679511"/>
                  <a:pt x="1643909" y="1687176"/>
                  <a:pt x="1632913" y="1698172"/>
                </a:cubicBezTo>
                <a:cubicBezTo>
                  <a:pt x="1590710" y="1740376"/>
                  <a:pt x="1640754" y="1717331"/>
                  <a:pt x="1586260" y="1735494"/>
                </a:cubicBezTo>
                <a:cubicBezTo>
                  <a:pt x="1566455" y="1794907"/>
                  <a:pt x="1594840" y="1735994"/>
                  <a:pt x="1539607" y="1772817"/>
                </a:cubicBezTo>
                <a:cubicBezTo>
                  <a:pt x="1455206" y="1829086"/>
                  <a:pt x="1584458" y="1779640"/>
                  <a:pt x="1492954" y="1810139"/>
                </a:cubicBezTo>
                <a:cubicBezTo>
                  <a:pt x="1483623" y="1816359"/>
                  <a:pt x="1475601" y="1832346"/>
                  <a:pt x="1464962" y="1828800"/>
                </a:cubicBezTo>
                <a:cubicBezTo>
                  <a:pt x="1450209" y="1823882"/>
                  <a:pt x="1447966" y="1802474"/>
                  <a:pt x="1436970" y="1791478"/>
                </a:cubicBezTo>
                <a:cubicBezTo>
                  <a:pt x="1429040" y="1783549"/>
                  <a:pt x="1417593" y="1779996"/>
                  <a:pt x="1408978" y="1772817"/>
                </a:cubicBezTo>
                <a:cubicBezTo>
                  <a:pt x="1326654" y="1704214"/>
                  <a:pt x="1452036" y="1793106"/>
                  <a:pt x="1334333" y="1707503"/>
                </a:cubicBezTo>
                <a:cubicBezTo>
                  <a:pt x="1316195" y="1694311"/>
                  <a:pt x="1295113" y="1685080"/>
                  <a:pt x="1278350" y="1670180"/>
                </a:cubicBezTo>
                <a:cubicBezTo>
                  <a:pt x="1266727" y="1659848"/>
                  <a:pt x="1262501" y="1642573"/>
                  <a:pt x="1250358" y="1632858"/>
                </a:cubicBezTo>
                <a:cubicBezTo>
                  <a:pt x="1230778" y="1617194"/>
                  <a:pt x="1204505" y="1611347"/>
                  <a:pt x="1185044" y="1595535"/>
                </a:cubicBezTo>
                <a:cubicBezTo>
                  <a:pt x="1154320" y="1570572"/>
                  <a:pt x="1129060" y="1539552"/>
                  <a:pt x="1101068" y="1511560"/>
                </a:cubicBezTo>
                <a:cubicBezTo>
                  <a:pt x="1079296" y="1489788"/>
                  <a:pt x="1060808" y="1464141"/>
                  <a:pt x="1035754" y="1446245"/>
                </a:cubicBezTo>
                <a:cubicBezTo>
                  <a:pt x="1013983" y="1430694"/>
                  <a:pt x="993012" y="1413956"/>
                  <a:pt x="970440" y="1399592"/>
                </a:cubicBezTo>
                <a:cubicBezTo>
                  <a:pt x="902067" y="1356082"/>
                  <a:pt x="963408" y="1409283"/>
                  <a:pt x="895795" y="1352939"/>
                </a:cubicBezTo>
                <a:cubicBezTo>
                  <a:pt x="889037" y="1347307"/>
                  <a:pt x="884002" y="1339773"/>
                  <a:pt x="877133" y="1334278"/>
                </a:cubicBezTo>
                <a:cubicBezTo>
                  <a:pt x="868377" y="1327273"/>
                  <a:pt x="857757" y="1322796"/>
                  <a:pt x="849142" y="1315617"/>
                </a:cubicBezTo>
                <a:cubicBezTo>
                  <a:pt x="839005" y="1307169"/>
                  <a:pt x="832024" y="1295101"/>
                  <a:pt x="821150" y="1287625"/>
                </a:cubicBezTo>
                <a:cubicBezTo>
                  <a:pt x="782028" y="1260729"/>
                  <a:pt x="744891" y="1227993"/>
                  <a:pt x="699852" y="1212980"/>
                </a:cubicBezTo>
                <a:cubicBezTo>
                  <a:pt x="690521" y="1209870"/>
                  <a:pt x="680458" y="1208425"/>
                  <a:pt x="671860" y="1203649"/>
                </a:cubicBezTo>
                <a:cubicBezTo>
                  <a:pt x="657894" y="1195890"/>
                  <a:pt x="602701" y="1153238"/>
                  <a:pt x="578554" y="1147666"/>
                </a:cubicBezTo>
                <a:cubicBezTo>
                  <a:pt x="551111" y="1141333"/>
                  <a:pt x="522570" y="1141445"/>
                  <a:pt x="494578" y="1138335"/>
                </a:cubicBezTo>
                <a:cubicBezTo>
                  <a:pt x="435484" y="1141445"/>
                  <a:pt x="375427" y="1136593"/>
                  <a:pt x="317297" y="1147666"/>
                </a:cubicBezTo>
                <a:cubicBezTo>
                  <a:pt x="306281" y="1149764"/>
                  <a:pt x="307606" y="1168930"/>
                  <a:pt x="298635" y="1175658"/>
                </a:cubicBezTo>
                <a:cubicBezTo>
                  <a:pt x="281944" y="1188176"/>
                  <a:pt x="261313" y="1194319"/>
                  <a:pt x="242652" y="1203649"/>
                </a:cubicBezTo>
                <a:cubicBezTo>
                  <a:pt x="216922" y="1229379"/>
                  <a:pt x="216978" y="1232983"/>
                  <a:pt x="186668" y="1250303"/>
                </a:cubicBezTo>
                <a:cubicBezTo>
                  <a:pt x="133944" y="1280432"/>
                  <a:pt x="163947" y="1254364"/>
                  <a:pt x="130684" y="1287625"/>
                </a:cubicBezTo>
                <a:cubicBezTo>
                  <a:pt x="93073" y="1362848"/>
                  <a:pt x="131355" y="1296117"/>
                  <a:pt x="93362" y="1343609"/>
                </a:cubicBezTo>
                <a:cubicBezTo>
                  <a:pt x="86357" y="1352365"/>
                  <a:pt x="74701" y="1371600"/>
                  <a:pt x="74701" y="1371600"/>
                </a:cubicBezTo>
                <a:lnTo>
                  <a:pt x="28048" y="1408923"/>
                </a:lnTo>
                <a:close/>
              </a:path>
            </a:pathLst>
          </a:cu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45" tIns="41473" rIns="82945" bIns="41473" numCol="1" spcCol="0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100000"/>
            </a:pPr>
            <a:endParaRPr lang="ru-RU" sz="16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845101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Заголовок 1"/>
          <p:cNvSpPr>
            <a:spLocks noGrp="1"/>
          </p:cNvSpPr>
          <p:nvPr>
            <p:ph type="title"/>
          </p:nvPr>
        </p:nvSpPr>
        <p:spPr>
          <a:xfrm>
            <a:off x="467544" y="332656"/>
            <a:ext cx="8229600" cy="561975"/>
          </a:xfrm>
        </p:spPr>
        <p:txBody>
          <a:bodyPr>
            <a:normAutofit fontScale="90000"/>
          </a:bodyPr>
          <a:lstStyle/>
          <a:p>
            <a:r>
              <a:rPr lang="ru-RU" sz="3600" b="1" dirty="0" smtClean="0">
                <a:solidFill>
                  <a:srgbClr val="0000FF"/>
                </a:solidFill>
              </a:rPr>
              <a:t>Показатели коагулограммы</a:t>
            </a:r>
            <a:endParaRPr lang="ru-RU" sz="3200" b="1" dirty="0" smtClean="0">
              <a:solidFill>
                <a:srgbClr val="0000FF"/>
              </a:solidFill>
            </a:endParaRPr>
          </a:p>
        </p:txBody>
      </p:sp>
      <p:sp>
        <p:nvSpPr>
          <p:cNvPr id="30723" name="Содержимое 2"/>
          <p:cNvSpPr>
            <a:spLocks noGrp="1"/>
          </p:cNvSpPr>
          <p:nvPr>
            <p:ph idx="1"/>
          </p:nvPr>
        </p:nvSpPr>
        <p:spPr>
          <a:xfrm>
            <a:off x="179512" y="1124744"/>
            <a:ext cx="8785225" cy="3960440"/>
          </a:xfrm>
        </p:spPr>
        <p:txBody>
          <a:bodyPr>
            <a:normAutofit lnSpcReduction="10000"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ru-RU" sz="2800" b="1" dirty="0" smtClean="0"/>
              <a:t>Традиционные показатели коагулограммы </a:t>
            </a:r>
            <a:r>
              <a:rPr lang="ru-RU" sz="2800" b="1" dirty="0" smtClean="0"/>
              <a:t>              </a:t>
            </a:r>
            <a:r>
              <a:rPr lang="ru-RU" sz="2000" dirty="0" smtClean="0"/>
              <a:t>(</a:t>
            </a:r>
            <a:r>
              <a:rPr lang="ru-RU" sz="2000" dirty="0" smtClean="0"/>
              <a:t>тромбоциты, фибриноген, время свертывания цельной крови, АПТВ, МНО, ПДФФ, </a:t>
            </a:r>
            <a:r>
              <a:rPr lang="en-US" sz="2000" dirty="0" smtClean="0"/>
              <a:t>D</a:t>
            </a:r>
            <a:r>
              <a:rPr lang="ru-RU" sz="2000" dirty="0" smtClean="0"/>
              <a:t>-димер</a:t>
            </a:r>
            <a:r>
              <a:rPr lang="ru-RU" sz="2000" dirty="0" smtClean="0"/>
              <a:t>)</a:t>
            </a:r>
            <a:r>
              <a:rPr lang="ru-RU" sz="2400" dirty="0" smtClean="0"/>
              <a:t>                                                                                             </a:t>
            </a:r>
            <a:r>
              <a:rPr lang="ru-RU" sz="2800" b="1" dirty="0" smtClean="0"/>
              <a:t>и </a:t>
            </a:r>
            <a:r>
              <a:rPr lang="ru-RU" sz="2800" b="1" dirty="0" smtClean="0"/>
              <a:t>их сдвиг в сторону так называемой «</a:t>
            </a:r>
            <a:r>
              <a:rPr lang="ru-RU" sz="2800" b="1" dirty="0" err="1" smtClean="0"/>
              <a:t>гиперкогауляции</a:t>
            </a:r>
            <a:r>
              <a:rPr lang="ru-RU" sz="2800" b="1" dirty="0" smtClean="0"/>
              <a:t>»                            </a:t>
            </a:r>
          </a:p>
          <a:p>
            <a:pPr algn="ctr">
              <a:spcBef>
                <a:spcPct val="0"/>
              </a:spcBef>
              <a:buFontTx/>
              <a:buNone/>
            </a:pPr>
            <a:endParaRPr lang="ru-RU" sz="3600" b="1" i="1" dirty="0" smtClean="0">
              <a:solidFill>
                <a:srgbClr val="FF0000"/>
              </a:solidFill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ru-RU" sz="3600" b="1" i="1" dirty="0" smtClean="0">
                <a:solidFill>
                  <a:srgbClr val="FF0000"/>
                </a:solidFill>
              </a:rPr>
              <a:t>не </a:t>
            </a:r>
            <a:r>
              <a:rPr lang="ru-RU" sz="3600" b="1" i="1" dirty="0" smtClean="0">
                <a:solidFill>
                  <a:srgbClr val="FF0000"/>
                </a:solidFill>
              </a:rPr>
              <a:t>являются     </a:t>
            </a:r>
            <a:r>
              <a:rPr lang="en-US" sz="3600" b="1" i="1" dirty="0" smtClean="0">
                <a:solidFill>
                  <a:srgbClr val="FF0000"/>
                </a:solidFill>
              </a:rPr>
              <a:t>           </a:t>
            </a:r>
            <a:r>
              <a:rPr lang="ru-RU" sz="3600" b="1" i="1" dirty="0" smtClean="0">
                <a:solidFill>
                  <a:srgbClr val="FF0000"/>
                </a:solidFill>
              </a:rPr>
              <a:t>                                 </a:t>
            </a:r>
            <a:r>
              <a:rPr lang="ru-RU" sz="2800" b="1" dirty="0" smtClean="0">
                <a:solidFill>
                  <a:srgbClr val="FF0000"/>
                </a:solidFill>
              </a:rPr>
              <a:t>основанием для проведения фармакологической (гепарины)  тромбопрофилактики</a:t>
            </a:r>
            <a:r>
              <a:rPr lang="ru-RU" b="1" dirty="0" smtClean="0">
                <a:solidFill>
                  <a:srgbClr val="FF0000"/>
                </a:solidFill>
              </a:rPr>
              <a:t>!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39552" y="5589240"/>
            <a:ext cx="80648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err="1" smtClean="0"/>
              <a:t>Гиперкоагуляция</a:t>
            </a:r>
            <a:r>
              <a:rPr lang="ru-RU" sz="2800" b="1" dirty="0" smtClean="0"/>
              <a:t> – норма беременности!</a:t>
            </a:r>
            <a:endParaRPr lang="ru-RU" sz="2800" b="1" dirty="0"/>
          </a:p>
        </p:txBody>
      </p:sp>
    </p:spTree>
    <p:extLst>
      <p:ext uri="{BB962C8B-B14F-4D97-AF65-F5344CB8AC3E}">
        <p14:creationId xmlns:p14="http://schemas.microsoft.com/office/powerpoint/2010/main" val="20232353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163514" y="1052736"/>
            <a:ext cx="698477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800" b="1" dirty="0" smtClean="0">
                <a:solidFill>
                  <a:srgbClr val="FF0000"/>
                </a:solidFill>
              </a:rPr>
              <a:t>Препараты для </a:t>
            </a:r>
            <a:r>
              <a:rPr lang="ru-RU" sz="4800" b="1" dirty="0" err="1" smtClean="0">
                <a:solidFill>
                  <a:srgbClr val="FF0000"/>
                </a:solidFill>
              </a:rPr>
              <a:t>тромбопрофилактики</a:t>
            </a:r>
            <a:endParaRPr lang="ru-RU" sz="4800" b="1" dirty="0">
              <a:solidFill>
                <a:srgbClr val="FF0000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700" y="2924944"/>
            <a:ext cx="4038600" cy="3368040"/>
          </a:xfrm>
          <a:prstGeom prst="rect">
            <a:avLst/>
          </a:prstGeom>
          <a:effectLst>
            <a:softEdge rad="317500"/>
          </a:effectLst>
        </p:spPr>
      </p:pic>
    </p:spTree>
    <p:extLst>
      <p:ext uri="{BB962C8B-B14F-4D97-AF65-F5344CB8AC3E}">
        <p14:creationId xmlns:p14="http://schemas.microsoft.com/office/powerpoint/2010/main" val="93925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863" y="1844521"/>
            <a:ext cx="4587602" cy="389539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cxnSp>
        <p:nvCxnSpPr>
          <p:cNvPr id="16" name="Прямая со стрелкой 15"/>
          <p:cNvCxnSpPr/>
          <p:nvPr/>
        </p:nvCxnSpPr>
        <p:spPr>
          <a:xfrm>
            <a:off x="2987824" y="981074"/>
            <a:ext cx="1512168" cy="3270239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Скругленная прямоугольная выноска 4"/>
          <p:cNvSpPr/>
          <p:nvPr/>
        </p:nvSpPr>
        <p:spPr>
          <a:xfrm>
            <a:off x="6228593" y="3347707"/>
            <a:ext cx="2847899" cy="727447"/>
          </a:xfrm>
          <a:prstGeom prst="wedgeRoundRectCallout">
            <a:avLst>
              <a:gd name="adj1" fmla="val -86628"/>
              <a:gd name="adj2" fmla="val 59784"/>
              <a:gd name="adj3" fmla="val 16667"/>
            </a:avLst>
          </a:prstGeom>
          <a:solidFill>
            <a:srgbClr val="FFFF00"/>
          </a:solidFill>
          <a:ln w="31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 smtClean="0">
                <a:solidFill>
                  <a:srgbClr val="FF0000"/>
                </a:solidFill>
              </a:rPr>
              <a:t>Нефракционированный гепарин</a:t>
            </a:r>
            <a:endParaRPr lang="ru-RU" sz="1400" b="1" dirty="0">
              <a:solidFill>
                <a:prstClr val="black"/>
              </a:solidFill>
            </a:endParaRPr>
          </a:p>
        </p:txBody>
      </p:sp>
      <p:sp>
        <p:nvSpPr>
          <p:cNvPr id="6" name="Скругленная прямоугольная выноска 5"/>
          <p:cNvSpPr/>
          <p:nvPr/>
        </p:nvSpPr>
        <p:spPr>
          <a:xfrm>
            <a:off x="6387973" y="5896327"/>
            <a:ext cx="1740478" cy="288032"/>
          </a:xfrm>
          <a:prstGeom prst="wedgeRoundRectCallout">
            <a:avLst>
              <a:gd name="adj1" fmla="val -124057"/>
              <a:gd name="adj2" fmla="val -197574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prstClr val="black"/>
                </a:solidFill>
              </a:rPr>
              <a:t>Тромболитики</a:t>
            </a:r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7" name="Скругленная прямоугольная выноска 6"/>
          <p:cNvSpPr/>
          <p:nvPr/>
        </p:nvSpPr>
        <p:spPr>
          <a:xfrm>
            <a:off x="3854859" y="246334"/>
            <a:ext cx="1584176" cy="576064"/>
          </a:xfrm>
          <a:prstGeom prst="wedgeRoundRectCallout">
            <a:avLst>
              <a:gd name="adj1" fmla="val -18737"/>
              <a:gd name="adj2" fmla="val 374620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prstClr val="black"/>
                </a:solidFill>
              </a:rPr>
              <a:t>Ингибиторы фактора Х</a:t>
            </a:r>
          </a:p>
        </p:txBody>
      </p:sp>
      <p:sp>
        <p:nvSpPr>
          <p:cNvPr id="8" name="Скругленная прямоугольная выноска 7"/>
          <p:cNvSpPr/>
          <p:nvPr/>
        </p:nvSpPr>
        <p:spPr>
          <a:xfrm>
            <a:off x="209805" y="1505482"/>
            <a:ext cx="1573216" cy="432048"/>
          </a:xfrm>
          <a:prstGeom prst="wedgeRoundRectCallout">
            <a:avLst>
              <a:gd name="adj1" fmla="val 19906"/>
              <a:gd name="adj2" fmla="val 245683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err="1">
                <a:solidFill>
                  <a:prstClr val="black"/>
                </a:solidFill>
              </a:rPr>
              <a:t>Дезагреганты</a:t>
            </a:r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82932" y="223023"/>
            <a:ext cx="2904892" cy="720427"/>
          </a:xfrm>
          <a:prstGeom prst="roundRect">
            <a:avLst/>
          </a:prstGeom>
          <a:solidFill>
            <a:srgbClr val="FFFF00"/>
          </a:solidFill>
          <a:ln w="3175"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dirty="0">
                <a:solidFill>
                  <a:srgbClr val="FF0000"/>
                </a:solidFill>
              </a:rPr>
              <a:t>Низкомолекулярный гепарин НМГ</a:t>
            </a:r>
          </a:p>
        </p:txBody>
      </p:sp>
      <p:cxnSp>
        <p:nvCxnSpPr>
          <p:cNvPr id="13" name="Прямая со стрелкой 12"/>
          <p:cNvCxnSpPr/>
          <p:nvPr/>
        </p:nvCxnSpPr>
        <p:spPr>
          <a:xfrm>
            <a:off x="2987824" y="981074"/>
            <a:ext cx="1296144" cy="1727846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Скругленная прямоугольная выноска 17"/>
          <p:cNvSpPr/>
          <p:nvPr/>
        </p:nvSpPr>
        <p:spPr>
          <a:xfrm>
            <a:off x="6516216" y="2096852"/>
            <a:ext cx="2527444" cy="936104"/>
          </a:xfrm>
          <a:prstGeom prst="wedgeRoundRectCallout">
            <a:avLst>
              <a:gd name="adj1" fmla="val -77937"/>
              <a:gd name="adj2" fmla="val -5876"/>
              <a:gd name="adj3" fmla="val 16667"/>
            </a:avLst>
          </a:prstGeom>
          <a:solidFill>
            <a:srgbClr val="FFFF00"/>
          </a:solidFill>
          <a:ln w="3175"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prstClr val="black"/>
                </a:solidFill>
              </a:rPr>
              <a:t>Протеин </a:t>
            </a:r>
            <a:r>
              <a:rPr lang="ru-RU" sz="1600" b="1" dirty="0" smtClean="0">
                <a:solidFill>
                  <a:prstClr val="black"/>
                </a:solidFill>
              </a:rPr>
              <a:t>С</a:t>
            </a:r>
          </a:p>
          <a:p>
            <a:pPr algn="ctr">
              <a:defRPr/>
            </a:pPr>
            <a:r>
              <a:rPr lang="ru-RU" sz="2000" b="1" dirty="0" smtClean="0">
                <a:solidFill>
                  <a:srgbClr val="FF0000"/>
                </a:solidFill>
              </a:rPr>
              <a:t>Антитромбин </a:t>
            </a:r>
            <a:r>
              <a:rPr lang="en-US" sz="2000" b="1" dirty="0" smtClean="0">
                <a:solidFill>
                  <a:srgbClr val="FF0000"/>
                </a:solidFill>
              </a:rPr>
              <a:t>III</a:t>
            </a:r>
            <a:r>
              <a:rPr lang="ru-RU" sz="2000" b="1" dirty="0" smtClean="0">
                <a:solidFill>
                  <a:srgbClr val="FF0000"/>
                </a:solidFill>
              </a:rPr>
              <a:t> </a:t>
            </a:r>
            <a:r>
              <a:rPr lang="ru-RU" sz="1600" b="1" dirty="0" err="1">
                <a:solidFill>
                  <a:prstClr val="black"/>
                </a:solidFill>
              </a:rPr>
              <a:t>Тромбомодулин</a:t>
            </a:r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14" name="Скругленная прямоугольная выноска 13"/>
          <p:cNvSpPr/>
          <p:nvPr/>
        </p:nvSpPr>
        <p:spPr>
          <a:xfrm>
            <a:off x="91927" y="4548327"/>
            <a:ext cx="1814000" cy="886167"/>
          </a:xfrm>
          <a:prstGeom prst="wedgeRoundRectCallout">
            <a:avLst>
              <a:gd name="adj1" fmla="val 108431"/>
              <a:gd name="adj2" fmla="val -195976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rgbClr val="3333CC"/>
                </a:solidFill>
              </a:rPr>
              <a:t>Антагонисты витамина К: </a:t>
            </a:r>
            <a:r>
              <a:rPr lang="ru-RU" b="1" dirty="0" smtClean="0">
                <a:solidFill>
                  <a:srgbClr val="FF0000"/>
                </a:solidFill>
              </a:rPr>
              <a:t>варфарин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071" y="2735323"/>
            <a:ext cx="1381105" cy="1339831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9119" y="943450"/>
            <a:ext cx="677828" cy="562032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413" y="2071221"/>
            <a:ext cx="595397" cy="493683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112" y="5322461"/>
            <a:ext cx="740712" cy="614174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4111" y="3975452"/>
            <a:ext cx="664465" cy="550952"/>
          </a:xfrm>
          <a:prstGeom prst="rect">
            <a:avLst/>
          </a:prstGeom>
        </p:spPr>
      </p:pic>
      <p:sp>
        <p:nvSpPr>
          <p:cNvPr id="22" name="Скругленная прямоугольная выноска 21"/>
          <p:cNvSpPr/>
          <p:nvPr/>
        </p:nvSpPr>
        <p:spPr>
          <a:xfrm>
            <a:off x="6804248" y="4700671"/>
            <a:ext cx="2112018" cy="581481"/>
          </a:xfrm>
          <a:prstGeom prst="wedgeRoundRectCallout">
            <a:avLst>
              <a:gd name="adj1" fmla="val -125327"/>
              <a:gd name="adj2" fmla="val -11797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prstClr val="black"/>
                </a:solidFill>
              </a:rPr>
              <a:t>Прямые ингибиторы </a:t>
            </a:r>
            <a:r>
              <a:rPr lang="ru-RU" sz="1600" b="1" dirty="0" smtClean="0">
                <a:solidFill>
                  <a:prstClr val="black"/>
                </a:solidFill>
              </a:rPr>
              <a:t>тромбина</a:t>
            </a:r>
            <a:endParaRPr lang="ru-RU" sz="1600" dirty="0">
              <a:solidFill>
                <a:prstClr val="white"/>
              </a:solidFill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1607" y="4516166"/>
            <a:ext cx="708051" cy="587092"/>
          </a:xfrm>
          <a:prstGeom prst="rect">
            <a:avLst/>
          </a:prstGeom>
        </p:spPr>
      </p:pic>
      <p:sp>
        <p:nvSpPr>
          <p:cNvPr id="24" name="Скругленная прямоугольная выноска 23"/>
          <p:cNvSpPr/>
          <p:nvPr/>
        </p:nvSpPr>
        <p:spPr>
          <a:xfrm>
            <a:off x="1390975" y="5908744"/>
            <a:ext cx="1431776" cy="365970"/>
          </a:xfrm>
          <a:prstGeom prst="wedgeRoundRectCallout">
            <a:avLst>
              <a:gd name="adj1" fmla="val 109625"/>
              <a:gd name="adj2" fmla="val -454113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prstClr val="black"/>
                </a:solidFill>
              </a:rPr>
              <a:t>Гепариноиды</a:t>
            </a:r>
            <a:endParaRPr lang="ru-RU" sz="1600" b="1" dirty="0">
              <a:solidFill>
                <a:prstClr val="black"/>
              </a:solidFill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754" y="5247512"/>
            <a:ext cx="740712" cy="614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297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71600" y="332656"/>
            <a:ext cx="633670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FF0000"/>
                </a:solidFill>
              </a:rPr>
              <a:t>Нефракционированный гепарин</a:t>
            </a:r>
          </a:p>
          <a:p>
            <a:r>
              <a:rPr lang="ru-RU" sz="2800" b="1" dirty="0" smtClean="0">
                <a:solidFill>
                  <a:srgbClr val="FF0000"/>
                </a:solidFill>
              </a:rPr>
              <a:t>Низкомолекулярный гепарин</a:t>
            </a:r>
            <a:endParaRPr lang="ru-RU" sz="2800" b="1" dirty="0">
              <a:solidFill>
                <a:srgbClr val="FF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65634" y="3717032"/>
            <a:ext cx="82089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b="1" dirty="0" smtClean="0"/>
          </a:p>
          <a:p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0246935"/>
              </p:ext>
            </p:extLst>
          </p:nvPr>
        </p:nvGraphicFramePr>
        <p:xfrm>
          <a:off x="323528" y="1397000"/>
          <a:ext cx="8451018" cy="376019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456384"/>
                <a:gridCol w="4994634"/>
              </a:tblGrid>
              <a:tr h="1311920">
                <a:tc>
                  <a:txBody>
                    <a:bodyPr/>
                    <a:lstStyle/>
                    <a:p>
                      <a:r>
                        <a:rPr lang="ru-RU" sz="2400" b="1" dirty="0" smtClean="0">
                          <a:solidFill>
                            <a:srgbClr val="0066FF"/>
                          </a:solidFill>
                        </a:rPr>
                        <a:t>При планировании беременности</a:t>
                      </a:r>
                      <a:endParaRPr lang="ru-RU" sz="2400" dirty="0">
                        <a:solidFill>
                          <a:srgbClr val="0066FF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2000" b="1" dirty="0" smtClean="0"/>
                        <a:t>Нужно понимать кому:</a:t>
                      </a:r>
                      <a:r>
                        <a:rPr lang="ru-RU" sz="2000" b="1" baseline="0" dirty="0" smtClean="0"/>
                        <a:t> пациенткам с </a:t>
                      </a:r>
                      <a:r>
                        <a:rPr lang="ru-RU" sz="2000" b="1" baseline="0" dirty="0" err="1" smtClean="0"/>
                        <a:t>тромбофилией</a:t>
                      </a:r>
                      <a:r>
                        <a:rPr lang="ru-RU" sz="2000" b="1" baseline="0" dirty="0" smtClean="0"/>
                        <a:t>. </a:t>
                      </a:r>
                    </a:p>
                    <a:p>
                      <a:r>
                        <a:rPr lang="ru-RU" sz="2000" b="1" baseline="0" dirty="0" smtClean="0"/>
                        <a:t>Риски не более, чем в общей популяции</a:t>
                      </a:r>
                      <a:endParaRPr lang="ru-RU" sz="2000" b="1" dirty="0"/>
                    </a:p>
                  </a:txBody>
                  <a:tcPr anchor="ctr"/>
                </a:tc>
              </a:tr>
              <a:tr h="12241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b="1" dirty="0" smtClean="0">
                        <a:solidFill>
                          <a:srgbClr val="0066FF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 smtClean="0">
                          <a:solidFill>
                            <a:srgbClr val="0066FF"/>
                          </a:solidFill>
                        </a:rPr>
                        <a:t>Во время беременности</a:t>
                      </a:r>
                    </a:p>
                    <a:p>
                      <a:endParaRPr lang="ru-RU" sz="2400" dirty="0">
                        <a:solidFill>
                          <a:srgbClr val="0066FF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2000" b="1" dirty="0" smtClean="0"/>
                        <a:t>Риск кровотечения!!!</a:t>
                      </a:r>
                      <a:endParaRPr lang="ru-RU" sz="2000" b="1" dirty="0"/>
                    </a:p>
                  </a:txBody>
                  <a:tcPr anchor="ctr"/>
                </a:tc>
              </a:tr>
              <a:tr h="12241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 smtClean="0">
                          <a:solidFill>
                            <a:srgbClr val="0066FF"/>
                          </a:solidFill>
                        </a:rPr>
                        <a:t>Послеродовый период</a:t>
                      </a:r>
                    </a:p>
                    <a:p>
                      <a:endParaRPr lang="ru-RU" sz="2400" dirty="0">
                        <a:solidFill>
                          <a:srgbClr val="0066FF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2000" b="1" dirty="0" smtClean="0"/>
                        <a:t>Риск тромбоза увеличивается в 100 раз!                Риск кровотечения не более,</a:t>
                      </a:r>
                      <a:r>
                        <a:rPr lang="ru-RU" sz="2000" b="1" baseline="0" dirty="0" smtClean="0"/>
                        <a:t> чем в общей популяции</a:t>
                      </a:r>
                      <a:endParaRPr lang="ru-RU" sz="2000" b="1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475656" y="5445224"/>
            <a:ext cx="616660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</a:rPr>
              <a:t>Без сомнения – только при перенесенном или текущем тромбозе!!!</a:t>
            </a:r>
            <a:endParaRPr lang="ru-RU" sz="2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04712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3819450"/>
            <a:ext cx="1152672" cy="2298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Прямая со стрелкой 4"/>
          <p:cNvCxnSpPr/>
          <p:nvPr/>
        </p:nvCxnSpPr>
        <p:spPr>
          <a:xfrm flipV="1">
            <a:off x="2699792" y="1484784"/>
            <a:ext cx="0" cy="4350791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/>
          <p:cNvCxnSpPr/>
          <p:nvPr/>
        </p:nvCxnSpPr>
        <p:spPr>
          <a:xfrm>
            <a:off x="2699792" y="5835575"/>
            <a:ext cx="6120680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2442344" y="5887180"/>
            <a:ext cx="64087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</a:rPr>
              <a:t>Вероятность   наступления беременности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91400" y="3003338"/>
            <a:ext cx="20522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</a:rPr>
              <a:t>Длина юбки</a:t>
            </a:r>
            <a:endParaRPr lang="ru-RU" sz="2400" b="1" dirty="0">
              <a:solidFill>
                <a:srgbClr val="FF0000"/>
              </a:solidFill>
            </a:endParaRPr>
          </a:p>
        </p:txBody>
      </p:sp>
      <p:cxnSp>
        <p:nvCxnSpPr>
          <p:cNvPr id="14" name="Прямая со стрелкой 13"/>
          <p:cNvCxnSpPr/>
          <p:nvPr/>
        </p:nvCxnSpPr>
        <p:spPr>
          <a:xfrm flipV="1">
            <a:off x="2771800" y="1916832"/>
            <a:ext cx="4104456" cy="3858770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http://www.severinform.ru/media/img/13/343/800x600_09667_ubka-ulyanovskcity-ru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577" y="1285688"/>
            <a:ext cx="1683051" cy="1262288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3140968"/>
            <a:ext cx="948654" cy="94865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264" y="188640"/>
            <a:ext cx="1023158" cy="1982369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2" name="TextBox 1"/>
          <p:cNvSpPr txBox="1"/>
          <p:nvPr/>
        </p:nvSpPr>
        <p:spPr>
          <a:xfrm>
            <a:off x="4644008" y="4653136"/>
            <a:ext cx="42790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00000"/>
                </a:solidFill>
              </a:rPr>
              <a:t>Но антикоагулянты???</a:t>
            </a:r>
            <a:endParaRPr lang="ru-RU" sz="24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0945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 стрелкой 4"/>
          <p:cNvCxnSpPr/>
          <p:nvPr/>
        </p:nvCxnSpPr>
        <p:spPr>
          <a:xfrm flipV="1">
            <a:off x="1979712" y="2204864"/>
            <a:ext cx="0" cy="3630712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/>
          <p:cNvCxnSpPr/>
          <p:nvPr/>
        </p:nvCxnSpPr>
        <p:spPr>
          <a:xfrm>
            <a:off x="1979712" y="5835575"/>
            <a:ext cx="5328592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835696" y="5944396"/>
            <a:ext cx="64087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FF0000"/>
                </a:solidFill>
              </a:rPr>
              <a:t>Вероятность   наступления беременности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3270175"/>
            <a:ext cx="20522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</a:rPr>
              <a:t>Гепарин</a:t>
            </a:r>
            <a:endParaRPr lang="ru-RU" sz="2400" b="1" dirty="0">
              <a:solidFill>
                <a:srgbClr val="FF0000"/>
              </a:solidFill>
            </a:endParaRPr>
          </a:p>
        </p:txBody>
      </p:sp>
      <p:cxnSp>
        <p:nvCxnSpPr>
          <p:cNvPr id="14" name="Прямая со стрелкой 13"/>
          <p:cNvCxnSpPr/>
          <p:nvPr/>
        </p:nvCxnSpPr>
        <p:spPr>
          <a:xfrm flipV="1">
            <a:off x="1979712" y="2564904"/>
            <a:ext cx="3744416" cy="3270672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8465" y="3731840"/>
            <a:ext cx="967168" cy="982015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3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0534" y="3068960"/>
            <a:ext cx="2562951" cy="2516352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4" name="TextBox 3"/>
          <p:cNvSpPr txBox="1"/>
          <p:nvPr/>
        </p:nvSpPr>
        <p:spPr>
          <a:xfrm>
            <a:off x="581822" y="260648"/>
            <a:ext cx="828092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66FF"/>
                </a:solidFill>
              </a:rPr>
              <a:t>Эффекты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b="1" dirty="0" err="1" smtClean="0"/>
              <a:t>Антикоагулянтный</a:t>
            </a:r>
            <a:endParaRPr lang="ru-RU" b="1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b="1" dirty="0" smtClean="0"/>
              <a:t>Иммуномодулирующий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b="1" dirty="0" smtClean="0"/>
              <a:t>Противовоспалительный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b="1" dirty="0" smtClean="0"/>
              <a:t>Улучшает </a:t>
            </a:r>
            <a:r>
              <a:rPr lang="ru-RU" b="1" dirty="0" err="1" smtClean="0"/>
              <a:t>гепаринсвязывающий</a:t>
            </a:r>
            <a:r>
              <a:rPr lang="ru-RU" b="1" dirty="0" smtClean="0"/>
              <a:t> </a:t>
            </a:r>
            <a:r>
              <a:rPr lang="ru-RU" b="1" dirty="0" err="1" smtClean="0"/>
              <a:t>эпидермальный</a:t>
            </a:r>
            <a:r>
              <a:rPr lang="ru-RU" b="1" dirty="0" smtClean="0"/>
              <a:t> фактор роста (</a:t>
            </a:r>
            <a:r>
              <a:rPr lang="en-US" b="1" dirty="0"/>
              <a:t>HB-EGF)</a:t>
            </a:r>
            <a:endParaRPr lang="ru-RU" b="1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5633" y="3731840"/>
            <a:ext cx="912362" cy="912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113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lum contrast="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633"/>
            <a:ext cx="4096766" cy="1485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602119"/>
            <a:ext cx="1591866" cy="484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7" y="1554615"/>
            <a:ext cx="6779526" cy="5228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7742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2605110"/>
            <a:ext cx="5040560" cy="3001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>
            <a:lum contrast="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633"/>
            <a:ext cx="4096766" cy="1485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0426" y="188640"/>
            <a:ext cx="1591866" cy="484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Скругленная прямоугольная выноска 1"/>
          <p:cNvSpPr/>
          <p:nvPr/>
        </p:nvSpPr>
        <p:spPr>
          <a:xfrm>
            <a:off x="4427984" y="1001954"/>
            <a:ext cx="4572000" cy="1328023"/>
          </a:xfrm>
          <a:prstGeom prst="wedgeRoundRectCallout">
            <a:avLst>
              <a:gd name="adj1" fmla="val -48556"/>
              <a:gd name="adj2" fmla="val 89087"/>
              <a:gd name="adj3" fmla="val 16667"/>
            </a:avLst>
          </a:prstGeom>
          <a:solidFill>
            <a:schemeClr val="bg2"/>
          </a:solidFill>
        </p:spPr>
        <p:txBody>
          <a:bodyPr>
            <a:spAutoFit/>
          </a:bodyPr>
          <a:lstStyle/>
          <a:p>
            <a:pPr algn="ctr"/>
            <a:r>
              <a:rPr lang="ru-RU" b="1" dirty="0" smtClean="0">
                <a:solidFill>
                  <a:srgbClr val="FF0000"/>
                </a:solidFill>
              </a:rPr>
              <a:t>Гепарины играют важную роль в эмбриональной имплантации и </a:t>
            </a:r>
            <a:r>
              <a:rPr lang="ru-RU" b="1" dirty="0" err="1" smtClean="0">
                <a:solidFill>
                  <a:srgbClr val="FF0000"/>
                </a:solidFill>
              </a:rPr>
              <a:t>плацентации</a:t>
            </a:r>
            <a:r>
              <a:rPr lang="ru-RU" b="1" dirty="0" smtClean="0">
                <a:solidFill>
                  <a:srgbClr val="FF0000"/>
                </a:solidFill>
              </a:rPr>
              <a:t>, способствуют развитию нормальной беременности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323528" y="2996952"/>
            <a:ext cx="4752528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395057" y="3212976"/>
            <a:ext cx="1944216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Скругленная прямоугольная выноска 8"/>
          <p:cNvSpPr/>
          <p:nvPr/>
        </p:nvSpPr>
        <p:spPr>
          <a:xfrm>
            <a:off x="5508104" y="4257888"/>
            <a:ext cx="3554654" cy="2553891"/>
          </a:xfrm>
          <a:prstGeom prst="wedgeRoundRectCallout">
            <a:avLst>
              <a:gd name="adj1" fmla="val -59977"/>
              <a:gd name="adj2" fmla="val -13218"/>
              <a:gd name="adj3" fmla="val 16667"/>
            </a:avLst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…гепарины могут играть определенную роль в улучшении исходов беременности среди подгруппе пациенток с </a:t>
            </a:r>
            <a:r>
              <a:rPr lang="ru-RU" b="1" dirty="0" err="1" smtClean="0">
                <a:solidFill>
                  <a:srgbClr val="FF0000"/>
                </a:solidFill>
              </a:rPr>
              <a:t>невынашиванием</a:t>
            </a:r>
            <a:r>
              <a:rPr lang="ru-RU" b="1" dirty="0" smtClean="0">
                <a:solidFill>
                  <a:srgbClr val="FF0000"/>
                </a:solidFill>
              </a:rPr>
              <a:t> беременности, независимо от наличия тромбофилии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395057" y="5229200"/>
            <a:ext cx="4752528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395057" y="5381600"/>
            <a:ext cx="4752528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 flipV="1">
            <a:off x="347127" y="5589240"/>
            <a:ext cx="3432785" cy="12249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185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440" y="1498204"/>
            <a:ext cx="5295725" cy="4005608"/>
          </a:xfrm>
          <a:prstGeom prst="rect">
            <a:avLst/>
          </a:prstGeom>
        </p:spPr>
      </p:pic>
      <p:sp>
        <p:nvSpPr>
          <p:cNvPr id="4" name="Стрелка вправо 3"/>
          <p:cNvSpPr/>
          <p:nvPr/>
        </p:nvSpPr>
        <p:spPr>
          <a:xfrm>
            <a:off x="539552" y="3140968"/>
            <a:ext cx="6066959" cy="1929891"/>
          </a:xfrm>
          <a:custGeom>
            <a:avLst/>
            <a:gdLst>
              <a:gd name="connsiteX0" fmla="*/ 0 w 7416824"/>
              <a:gd name="connsiteY0" fmla="*/ 162018 h 648072"/>
              <a:gd name="connsiteX1" fmla="*/ 6857395 w 7416824"/>
              <a:gd name="connsiteY1" fmla="*/ 162018 h 648072"/>
              <a:gd name="connsiteX2" fmla="*/ 6857395 w 7416824"/>
              <a:gd name="connsiteY2" fmla="*/ 0 h 648072"/>
              <a:gd name="connsiteX3" fmla="*/ 7416824 w 7416824"/>
              <a:gd name="connsiteY3" fmla="*/ 324036 h 648072"/>
              <a:gd name="connsiteX4" fmla="*/ 6857395 w 7416824"/>
              <a:gd name="connsiteY4" fmla="*/ 648072 h 648072"/>
              <a:gd name="connsiteX5" fmla="*/ 6857395 w 7416824"/>
              <a:gd name="connsiteY5" fmla="*/ 486054 h 648072"/>
              <a:gd name="connsiteX6" fmla="*/ 0 w 7416824"/>
              <a:gd name="connsiteY6" fmla="*/ 486054 h 648072"/>
              <a:gd name="connsiteX7" fmla="*/ 0 w 7416824"/>
              <a:gd name="connsiteY7" fmla="*/ 162018 h 648072"/>
              <a:gd name="connsiteX0" fmla="*/ 0 w 7416824"/>
              <a:gd name="connsiteY0" fmla="*/ 162018 h 648072"/>
              <a:gd name="connsiteX1" fmla="*/ 6857395 w 7416824"/>
              <a:gd name="connsiteY1" fmla="*/ 162018 h 648072"/>
              <a:gd name="connsiteX2" fmla="*/ 6857395 w 7416824"/>
              <a:gd name="connsiteY2" fmla="*/ 0 h 648072"/>
              <a:gd name="connsiteX3" fmla="*/ 7416824 w 7416824"/>
              <a:gd name="connsiteY3" fmla="*/ 324036 h 648072"/>
              <a:gd name="connsiteX4" fmla="*/ 6857395 w 7416824"/>
              <a:gd name="connsiteY4" fmla="*/ 648072 h 648072"/>
              <a:gd name="connsiteX5" fmla="*/ 6857395 w 7416824"/>
              <a:gd name="connsiteY5" fmla="*/ 486054 h 648072"/>
              <a:gd name="connsiteX6" fmla="*/ 14797 w 7416824"/>
              <a:gd name="connsiteY6" fmla="*/ 360825 h 648072"/>
              <a:gd name="connsiteX7" fmla="*/ 0 w 7416824"/>
              <a:gd name="connsiteY7" fmla="*/ 162018 h 648072"/>
              <a:gd name="connsiteX0" fmla="*/ 0 w 7418964"/>
              <a:gd name="connsiteY0" fmla="*/ 263216 h 648072"/>
              <a:gd name="connsiteX1" fmla="*/ 6859535 w 7418964"/>
              <a:gd name="connsiteY1" fmla="*/ 162018 h 648072"/>
              <a:gd name="connsiteX2" fmla="*/ 6859535 w 7418964"/>
              <a:gd name="connsiteY2" fmla="*/ 0 h 648072"/>
              <a:gd name="connsiteX3" fmla="*/ 7418964 w 7418964"/>
              <a:gd name="connsiteY3" fmla="*/ 324036 h 648072"/>
              <a:gd name="connsiteX4" fmla="*/ 6859535 w 7418964"/>
              <a:gd name="connsiteY4" fmla="*/ 648072 h 648072"/>
              <a:gd name="connsiteX5" fmla="*/ 6859535 w 7418964"/>
              <a:gd name="connsiteY5" fmla="*/ 486054 h 648072"/>
              <a:gd name="connsiteX6" fmla="*/ 16937 w 7418964"/>
              <a:gd name="connsiteY6" fmla="*/ 360825 h 648072"/>
              <a:gd name="connsiteX7" fmla="*/ 0 w 7418964"/>
              <a:gd name="connsiteY7" fmla="*/ 263216 h 648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418964" h="648072">
                <a:moveTo>
                  <a:pt x="0" y="263216"/>
                </a:moveTo>
                <a:lnTo>
                  <a:pt x="6859535" y="162018"/>
                </a:lnTo>
                <a:lnTo>
                  <a:pt x="6859535" y="0"/>
                </a:lnTo>
                <a:lnTo>
                  <a:pt x="7418964" y="324036"/>
                </a:lnTo>
                <a:lnTo>
                  <a:pt x="6859535" y="648072"/>
                </a:lnTo>
                <a:lnTo>
                  <a:pt x="6859535" y="486054"/>
                </a:lnTo>
                <a:lnTo>
                  <a:pt x="16937" y="360825"/>
                </a:lnTo>
                <a:lnTo>
                  <a:pt x="0" y="263216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67544" y="476672"/>
            <a:ext cx="78488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0066FF"/>
                </a:solidFill>
              </a:rPr>
              <a:t>Риск назначения антикоагулянтов </a:t>
            </a:r>
            <a:endParaRPr lang="ru-RU" sz="3200" b="1" dirty="0">
              <a:solidFill>
                <a:srgbClr val="0066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606511" y="3844303"/>
            <a:ext cx="25202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FF0000"/>
                </a:solidFill>
              </a:rPr>
              <a:t>Кровотечение</a:t>
            </a:r>
            <a:endParaRPr lang="ru-RU" sz="2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92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332656"/>
            <a:ext cx="8435280" cy="1143000"/>
          </a:xfrm>
        </p:spPr>
        <p:txBody>
          <a:bodyPr>
            <a:normAutofit fontScale="90000"/>
          </a:bodyPr>
          <a:lstStyle/>
          <a:p>
            <a:r>
              <a:rPr lang="ru-RU" sz="2400" b="1" dirty="0">
                <a:solidFill>
                  <a:srgbClr val="0000FF"/>
                </a:solidFill>
              </a:rPr>
              <a:t>П Е Р Е Ч Е Н Ь</a:t>
            </a:r>
            <a:r>
              <a:rPr lang="ru-RU" sz="2400" dirty="0">
                <a:solidFill>
                  <a:srgbClr val="0000FF"/>
                </a:solidFill>
              </a:rPr>
              <a:t/>
            </a:r>
            <a:br>
              <a:rPr lang="ru-RU" sz="2400" dirty="0">
                <a:solidFill>
                  <a:srgbClr val="0000FF"/>
                </a:solidFill>
              </a:rPr>
            </a:br>
            <a:r>
              <a:rPr lang="ru-RU" sz="2400" b="1" dirty="0" smtClean="0">
                <a:solidFill>
                  <a:srgbClr val="0000FF"/>
                </a:solidFill>
              </a:rPr>
              <a:t>жизненно </a:t>
            </a:r>
            <a:r>
              <a:rPr lang="ru-RU" sz="2400" b="1" dirty="0">
                <a:solidFill>
                  <a:srgbClr val="0000FF"/>
                </a:solidFill>
              </a:rPr>
              <a:t>необходимых и важнейших лекарственных </a:t>
            </a:r>
            <a:r>
              <a:rPr lang="ru-RU" sz="2400" b="1" dirty="0" smtClean="0">
                <a:solidFill>
                  <a:srgbClr val="0000FF"/>
                </a:solidFill>
              </a:rPr>
              <a:t>препаратов на 2015 </a:t>
            </a:r>
            <a:r>
              <a:rPr lang="ru-RU" sz="2400" dirty="0">
                <a:solidFill>
                  <a:srgbClr val="0000FF"/>
                </a:solidFill>
              </a:rPr>
              <a:t> </a:t>
            </a:r>
            <a:br>
              <a:rPr lang="ru-RU" sz="2400" dirty="0">
                <a:solidFill>
                  <a:srgbClr val="0000FF"/>
                </a:solidFill>
              </a:rPr>
            </a:br>
            <a:endParaRPr lang="ru-RU" sz="2400" dirty="0">
              <a:solidFill>
                <a:srgbClr val="0000FF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ru-RU" sz="1800" b="1" dirty="0">
                <a:solidFill>
                  <a:srgbClr val="0000FF"/>
                </a:solidFill>
              </a:rPr>
              <a:t>B   </a:t>
            </a:r>
            <a:r>
              <a:rPr lang="ru-RU" sz="1800" b="1" dirty="0" smtClean="0">
                <a:solidFill>
                  <a:srgbClr val="0000FF"/>
                </a:solidFill>
              </a:rPr>
              <a:t>Кровь </a:t>
            </a:r>
            <a:r>
              <a:rPr lang="ru-RU" sz="1800" b="1" dirty="0">
                <a:solidFill>
                  <a:srgbClr val="0000FF"/>
                </a:solidFill>
              </a:rPr>
              <a:t>и система кроветворения</a:t>
            </a:r>
          </a:p>
          <a:p>
            <a:r>
              <a:rPr lang="ru-RU" sz="1600" b="1" dirty="0">
                <a:solidFill>
                  <a:srgbClr val="0000FF"/>
                </a:solidFill>
              </a:rPr>
              <a:t>B01  </a:t>
            </a:r>
            <a:r>
              <a:rPr lang="ru-RU" sz="1600" b="1" dirty="0" err="1">
                <a:solidFill>
                  <a:srgbClr val="0000FF"/>
                </a:solidFill>
              </a:rPr>
              <a:t>антитромботические</a:t>
            </a:r>
            <a:r>
              <a:rPr lang="ru-RU" sz="1600" b="1" dirty="0">
                <a:solidFill>
                  <a:srgbClr val="0000FF"/>
                </a:solidFill>
              </a:rPr>
              <a:t> средства</a:t>
            </a:r>
          </a:p>
          <a:p>
            <a:r>
              <a:rPr lang="ru-RU" sz="1600" b="1" dirty="0">
                <a:solidFill>
                  <a:srgbClr val="0000FF"/>
                </a:solidFill>
              </a:rPr>
              <a:t>B01A </a:t>
            </a:r>
            <a:r>
              <a:rPr lang="ru-RU" sz="1600" b="1" dirty="0" err="1">
                <a:solidFill>
                  <a:srgbClr val="0000FF"/>
                </a:solidFill>
              </a:rPr>
              <a:t>антитромботические</a:t>
            </a:r>
            <a:r>
              <a:rPr lang="ru-RU" sz="1600" b="1" dirty="0">
                <a:solidFill>
                  <a:srgbClr val="0000FF"/>
                </a:solidFill>
              </a:rPr>
              <a:t> средства</a:t>
            </a:r>
          </a:p>
          <a:p>
            <a:r>
              <a:rPr lang="ru-RU" sz="1600" b="1" dirty="0"/>
              <a:t>B01AA антагонисты витамина К</a:t>
            </a:r>
          </a:p>
          <a:p>
            <a:r>
              <a:rPr lang="ru-RU" sz="1600" b="1" dirty="0" err="1"/>
              <a:t>Варфарин</a:t>
            </a:r>
            <a:r>
              <a:rPr lang="ru-RU" sz="1600" b="1" dirty="0"/>
              <a:t> таблетки</a:t>
            </a:r>
          </a:p>
          <a:p>
            <a:r>
              <a:rPr lang="ru-RU" sz="1800" b="1" dirty="0">
                <a:solidFill>
                  <a:srgbClr val="FF0000"/>
                </a:solidFill>
              </a:rPr>
              <a:t>B01AB группа гепарина</a:t>
            </a:r>
          </a:p>
          <a:p>
            <a:r>
              <a:rPr lang="ru-RU" sz="1800" b="1" dirty="0">
                <a:solidFill>
                  <a:srgbClr val="FF0000"/>
                </a:solidFill>
              </a:rPr>
              <a:t>гепарин </a:t>
            </a:r>
            <a:r>
              <a:rPr lang="ru-RU" sz="1800" b="1" dirty="0" smtClean="0">
                <a:solidFill>
                  <a:srgbClr val="FF0000"/>
                </a:solidFill>
              </a:rPr>
              <a:t>натрия </a:t>
            </a:r>
          </a:p>
          <a:p>
            <a:r>
              <a:rPr lang="ru-RU" sz="1800" b="1" dirty="0" err="1" smtClean="0">
                <a:solidFill>
                  <a:srgbClr val="FF0000"/>
                </a:solidFill>
              </a:rPr>
              <a:t>эноксапарин</a:t>
            </a:r>
            <a:r>
              <a:rPr lang="ru-RU" sz="1800" b="1" dirty="0" smtClean="0">
                <a:solidFill>
                  <a:srgbClr val="FF0000"/>
                </a:solidFill>
              </a:rPr>
              <a:t> </a:t>
            </a:r>
            <a:r>
              <a:rPr lang="ru-RU" sz="1800" b="1" dirty="0">
                <a:solidFill>
                  <a:srgbClr val="FF0000"/>
                </a:solidFill>
              </a:rPr>
              <a:t>натрия</a:t>
            </a:r>
            <a:r>
              <a:rPr lang="ru-RU" sz="1600" b="1" dirty="0">
                <a:solidFill>
                  <a:srgbClr val="FF0000"/>
                </a:solidFill>
              </a:rPr>
              <a:t>, </a:t>
            </a:r>
            <a:endParaRPr lang="ru-RU" sz="1600" b="1" dirty="0" smtClean="0">
              <a:solidFill>
                <a:srgbClr val="FF0000"/>
              </a:solidFill>
            </a:endParaRPr>
          </a:p>
          <a:p>
            <a:r>
              <a:rPr lang="ru-RU" sz="1600" b="1" dirty="0" smtClean="0"/>
              <a:t>B01AC </a:t>
            </a:r>
            <a:r>
              <a:rPr lang="ru-RU" sz="1600" b="1" dirty="0" err="1"/>
              <a:t>антиагреганты</a:t>
            </a:r>
            <a:endParaRPr lang="ru-RU" sz="1600" b="1" dirty="0"/>
          </a:p>
          <a:p>
            <a:r>
              <a:rPr lang="ru-RU" sz="1600" b="1" dirty="0" err="1"/>
              <a:t>Клопидогрел</a:t>
            </a:r>
            <a:r>
              <a:rPr lang="ru-RU" sz="1600" b="1" dirty="0"/>
              <a:t>, </a:t>
            </a:r>
            <a:endParaRPr lang="ru-RU" sz="1600" b="1" dirty="0" smtClean="0"/>
          </a:p>
          <a:p>
            <a:r>
              <a:rPr lang="ru-RU" sz="1600" b="1" dirty="0" smtClean="0"/>
              <a:t>B01AD   </a:t>
            </a:r>
            <a:r>
              <a:rPr lang="ru-RU" sz="1600" b="1" dirty="0"/>
              <a:t>ферментные препараты</a:t>
            </a:r>
          </a:p>
          <a:p>
            <a:r>
              <a:rPr lang="ru-RU" sz="1600" b="1" dirty="0" err="1" smtClean="0"/>
              <a:t>Алтеплаза</a:t>
            </a:r>
            <a:r>
              <a:rPr lang="ru-RU" sz="1600" b="1" dirty="0" smtClean="0"/>
              <a:t>, </a:t>
            </a:r>
            <a:r>
              <a:rPr lang="ru-RU" sz="1600" b="1" dirty="0" err="1" smtClean="0"/>
              <a:t>Проурокиназа</a:t>
            </a:r>
            <a:r>
              <a:rPr lang="ru-RU" sz="1600" b="1" dirty="0"/>
              <a:t>, </a:t>
            </a:r>
          </a:p>
          <a:p>
            <a:r>
              <a:rPr lang="ru-RU" sz="1600" b="1" dirty="0"/>
              <a:t>В01АЕ прямые ингибиторы тромбина</a:t>
            </a:r>
          </a:p>
          <a:p>
            <a:r>
              <a:rPr lang="ru-RU" sz="1600" b="1" dirty="0" err="1"/>
              <a:t>дабигатрана</a:t>
            </a:r>
            <a:r>
              <a:rPr lang="ru-RU" sz="1600" b="1" dirty="0"/>
              <a:t> </a:t>
            </a:r>
            <a:r>
              <a:rPr lang="ru-RU" sz="1600" b="1" dirty="0" err="1"/>
              <a:t>этексилат</a:t>
            </a:r>
            <a:r>
              <a:rPr lang="ru-RU" sz="1600" b="1" dirty="0"/>
              <a:t>, </a:t>
            </a:r>
            <a:endParaRPr lang="ru-RU" sz="1600" b="1" dirty="0" smtClean="0"/>
          </a:p>
          <a:p>
            <a:r>
              <a:rPr lang="ru-RU" sz="1600" b="1" dirty="0" smtClean="0"/>
              <a:t>B01AX </a:t>
            </a:r>
            <a:r>
              <a:rPr lang="ru-RU" sz="1600" b="1" dirty="0"/>
              <a:t>прочие антикоагулянты</a:t>
            </a:r>
          </a:p>
          <a:p>
            <a:r>
              <a:rPr lang="ru-RU" sz="1600" b="1" dirty="0" err="1"/>
              <a:t>Ривароксабан</a:t>
            </a:r>
            <a:r>
              <a:rPr lang="ru-RU" sz="1600" b="1" dirty="0"/>
              <a:t>, </a:t>
            </a:r>
            <a:endParaRPr lang="ru-RU" sz="3600" dirty="0"/>
          </a:p>
        </p:txBody>
      </p:sp>
      <p:sp>
        <p:nvSpPr>
          <p:cNvPr id="4" name="Правая фигурная скобка 3"/>
          <p:cNvSpPr/>
          <p:nvPr/>
        </p:nvSpPr>
        <p:spPr>
          <a:xfrm>
            <a:off x="3617894" y="3172780"/>
            <a:ext cx="198022" cy="892098"/>
          </a:xfrm>
          <a:prstGeom prst="rightBrace">
            <a:avLst>
              <a:gd name="adj1" fmla="val 48417"/>
              <a:gd name="adj2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3779912" y="3264886"/>
            <a:ext cx="50405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</a:rPr>
              <a:t>Только группу гепарина можно во время беременности</a:t>
            </a:r>
            <a:endParaRPr lang="ru-RU" sz="2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705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www.rmj.ru/data/numbers/Image/cover_21_23_2013.gif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4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75" y="3428999"/>
            <a:ext cx="1775876" cy="2515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7945100"/>
              </p:ext>
            </p:extLst>
          </p:nvPr>
        </p:nvGraphicFramePr>
        <p:xfrm>
          <a:off x="2267744" y="3673464"/>
          <a:ext cx="6768752" cy="739127"/>
        </p:xfrm>
        <a:graphic>
          <a:graphicData uri="http://schemas.openxmlformats.org/drawingml/2006/table">
            <a:tbl>
              <a:tblPr/>
              <a:tblGrid>
                <a:gridCol w="862777"/>
                <a:gridCol w="5905975"/>
              </a:tblGrid>
              <a:tr h="706902">
                <a:tc>
                  <a:txBody>
                    <a:bodyPr/>
                    <a:lstStyle/>
                    <a:p>
                      <a:r>
                        <a:rPr lang="ru-RU" sz="1800" b="1" dirty="0">
                          <a:effectLst/>
                        </a:rPr>
                        <a:t>1142</a:t>
                      </a:r>
                      <a:r>
                        <a:rPr lang="ru-RU" sz="1800" dirty="0">
                          <a:effectLst/>
                        </a:rPr>
                        <a:t>.</a:t>
                      </a:r>
                    </a:p>
                  </a:txBody>
                  <a:tcPr marL="0" marR="95244" marT="0" marB="19048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b="1" u="none" dirty="0">
                          <a:solidFill>
                            <a:srgbClr val="3333CC"/>
                          </a:solidFill>
                          <a:effectLst/>
                        </a:rPr>
                        <a:t>Особенности тромбопрофилактики в акушерстве </a:t>
                      </a:r>
                      <a:br>
                        <a:rPr lang="ru-RU" sz="1800" b="1" u="none" dirty="0">
                          <a:solidFill>
                            <a:srgbClr val="3333CC"/>
                          </a:solidFill>
                          <a:effectLst/>
                        </a:rPr>
                      </a:br>
                      <a:r>
                        <a:rPr lang="ru-RU" sz="1800" dirty="0">
                          <a:effectLst/>
                        </a:rPr>
                        <a:t>Куликов А.В., </a:t>
                      </a:r>
                      <a:r>
                        <a:rPr lang="ru-RU" sz="1800" dirty="0" err="1">
                          <a:effectLst/>
                        </a:rPr>
                        <a:t>Беломестнов</a:t>
                      </a:r>
                      <a:r>
                        <a:rPr lang="ru-RU" sz="1800" dirty="0">
                          <a:effectLst/>
                        </a:rPr>
                        <a:t> С.Р., Кузнецов Н.Н., </a:t>
                      </a:r>
                      <a:r>
                        <a:rPr lang="ru-RU" sz="1800" dirty="0" err="1">
                          <a:effectLst/>
                        </a:rPr>
                        <a:t>Шифман</a:t>
                      </a:r>
                      <a:r>
                        <a:rPr lang="ru-RU" sz="1800" dirty="0">
                          <a:effectLst/>
                        </a:rPr>
                        <a:t> Е.М.</a:t>
                      </a:r>
                    </a:p>
                  </a:txBody>
                  <a:tcPr marL="0" marR="0" marT="0" marB="19048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pic>
        <p:nvPicPr>
          <p:cNvPr id="2052" name="Picture 4" descr="http://vestint.ru/oblozhka2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285618"/>
            <a:ext cx="2088232" cy="2922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4263409"/>
              </p:ext>
            </p:extLst>
          </p:nvPr>
        </p:nvGraphicFramePr>
        <p:xfrm>
          <a:off x="2123727" y="4293096"/>
          <a:ext cx="5544617" cy="594360"/>
        </p:xfrm>
        <a:graphic>
          <a:graphicData uri="http://schemas.openxmlformats.org/drawingml/2006/table">
            <a:tbl>
              <a:tblPr/>
              <a:tblGrid>
                <a:gridCol w="5544617"/>
              </a:tblGrid>
              <a:tr h="576064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effectLst/>
                        </a:rPr>
                        <a:t>02 </a:t>
                      </a:r>
                      <a:r>
                        <a:rPr lang="ru-RU" sz="1400" dirty="0">
                          <a:effectLst/>
                        </a:rPr>
                        <a:t>октября 2013 г, № </a:t>
                      </a:r>
                      <a:r>
                        <a:rPr lang="ru-RU" sz="1400" dirty="0" smtClean="0">
                          <a:effectLst/>
                        </a:rPr>
                        <a:t>23 </a:t>
                      </a:r>
                      <a:r>
                        <a:rPr lang="ru-RU" sz="1400" b="1" dirty="0" smtClean="0">
                          <a:effectLst/>
                        </a:rPr>
                        <a:t>Акушерство</a:t>
                      </a:r>
                      <a:r>
                        <a:rPr lang="ru-RU" sz="1400" b="1" dirty="0">
                          <a:effectLst/>
                        </a:rPr>
                        <a:t>. Гинекология</a:t>
                      </a:r>
                      <a:endParaRPr lang="ru-RU" sz="1400" dirty="0">
                        <a:effectLst/>
                      </a:endParaRPr>
                    </a:p>
                  </a:txBody>
                  <a:tcPr marL="0" marR="0" marT="190500" marB="190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74" y="260648"/>
            <a:ext cx="1944153" cy="2420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4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760" y="361313"/>
            <a:ext cx="2931618" cy="1476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960" y="5157192"/>
            <a:ext cx="3688804" cy="1198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1226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03052" y="476672"/>
            <a:ext cx="80648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FF0000"/>
                </a:solidFill>
              </a:rPr>
              <a:t>Гепарин и низкомолекулярный гепарин</a:t>
            </a:r>
            <a:endParaRPr lang="ru-RU" sz="2800" b="1" dirty="0">
              <a:solidFill>
                <a:srgbClr val="FF0000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309" y="447305"/>
            <a:ext cx="583899" cy="58195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541132" y="1236283"/>
            <a:ext cx="6240086" cy="919401"/>
          </a:xfrm>
          <a:prstGeom prst="roundRect">
            <a:avLst>
              <a:gd name="adj" fmla="val 26336"/>
            </a:avLst>
          </a:prstGeom>
          <a:solidFill>
            <a:schemeClr val="bg2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ru-RU" sz="2400" b="1" dirty="0" smtClean="0"/>
              <a:t>Не проникают через плаценту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ru-RU" sz="2400" b="1" dirty="0" smtClean="0"/>
              <a:t>Есть антидот – протамина сульфат</a:t>
            </a:r>
            <a:endParaRPr lang="ru-RU" sz="2400" b="1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670" y="3086660"/>
            <a:ext cx="486763" cy="485141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59670" y="3009953"/>
            <a:ext cx="29523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/>
              <a:t>Гепарин</a:t>
            </a:r>
            <a:endParaRPr lang="ru-RU" sz="28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5250496" y="3035353"/>
            <a:ext cx="29523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/>
              <a:t>НМГ</a:t>
            </a:r>
            <a:endParaRPr lang="ru-RU" sz="2800" b="1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104" y="3072482"/>
            <a:ext cx="515213" cy="513496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47424" y="3720812"/>
            <a:ext cx="37365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1" dirty="0" smtClean="0">
                <a:solidFill>
                  <a:srgbClr val="0000FF"/>
                </a:solidFill>
              </a:rPr>
              <a:t>Можно вводить в/в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1" dirty="0" smtClean="0">
                <a:solidFill>
                  <a:srgbClr val="0000FF"/>
                </a:solidFill>
              </a:rPr>
              <a:t>Более управляемый</a:t>
            </a:r>
            <a:endParaRPr lang="ru-RU" sz="2400" b="1" dirty="0">
              <a:solidFill>
                <a:srgbClr val="0000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55147" y="3707740"/>
            <a:ext cx="472799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1" dirty="0" smtClean="0">
                <a:solidFill>
                  <a:srgbClr val="0000FF"/>
                </a:solidFill>
              </a:rPr>
              <a:t>Прогнозируемый эффект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1" dirty="0" smtClean="0">
                <a:solidFill>
                  <a:srgbClr val="0000FF"/>
                </a:solidFill>
              </a:rPr>
              <a:t>Меньше риск кровотечения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1" dirty="0" smtClean="0">
                <a:solidFill>
                  <a:srgbClr val="0000FF"/>
                </a:solidFill>
              </a:rPr>
              <a:t>Можно амбулаторно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1" dirty="0" smtClean="0">
                <a:solidFill>
                  <a:srgbClr val="0000FF"/>
                </a:solidFill>
              </a:rPr>
              <a:t>Удобство использования</a:t>
            </a:r>
            <a:endParaRPr lang="ru-RU" sz="2400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173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943" name="Group 31"/>
          <p:cNvGraphicFramePr>
            <a:graphicFrameLocks noGrp="1"/>
          </p:cNvGraphicFramePr>
          <p:nvPr>
            <p:ph type="tbl" idx="1"/>
            <p:extLst>
              <p:ext uri="{D42A27DB-BD31-4B8C-83A1-F6EECF244321}">
                <p14:modId xmlns:p14="http://schemas.microsoft.com/office/powerpoint/2010/main" val="3242438731"/>
              </p:ext>
            </p:extLst>
          </p:nvPr>
        </p:nvGraphicFramePr>
        <p:xfrm>
          <a:off x="179512" y="908720"/>
          <a:ext cx="8568952" cy="2808315"/>
        </p:xfrm>
        <a:graphic>
          <a:graphicData uri="http://schemas.openxmlformats.org/drawingml/2006/table">
            <a:tbl>
              <a:tblPr/>
              <a:tblGrid>
                <a:gridCol w="4284476"/>
                <a:gridCol w="4284476"/>
              </a:tblGrid>
              <a:tr h="64807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епарат </a:t>
                      </a:r>
                    </a:p>
                  </a:txBody>
                  <a:tcPr marL="91429" marR="91429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офилактические дозы</a:t>
                      </a:r>
                    </a:p>
                  </a:txBody>
                  <a:tcPr marL="91429" marR="91429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584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ефракционированный</a:t>
                      </a: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гепарин</a:t>
                      </a:r>
                    </a:p>
                  </a:txBody>
                  <a:tcPr marL="91429" marR="91429" marT="45712" marB="4571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000 ЕД подкожно через 8-12 ч</a:t>
                      </a:r>
                    </a:p>
                  </a:txBody>
                  <a:tcPr marL="91429" marR="91429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8250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Эноксапарин</a:t>
                      </a: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(</a:t>
                      </a:r>
                      <a:r>
                        <a:rPr kumimoji="0" lang="ru-RU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лексан</a:t>
                      </a: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)</a:t>
                      </a:r>
                    </a:p>
                  </a:txBody>
                  <a:tcPr marL="91429" marR="91429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–40 мг 1 раз в сутки</a:t>
                      </a:r>
                      <a:endParaRPr kumimoji="0" lang="ru-RU" sz="3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91429" marR="91429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6221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Дальтепарин</a:t>
                      </a: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(</a:t>
                      </a:r>
                      <a:r>
                        <a:rPr kumimoji="0" lang="ru-RU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фрагмин</a:t>
                      </a: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)</a:t>
                      </a:r>
                      <a:endParaRPr kumimoji="0" lang="ru-RU" sz="3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91429" marR="91429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500–5000 МE  1–2 раза /</a:t>
                      </a:r>
                      <a:r>
                        <a:rPr kumimoji="0" lang="ru-RU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ут</a:t>
                      </a:r>
                      <a:endParaRPr kumimoji="0" lang="ru-RU" sz="3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91429" marR="91429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7875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Надропарин</a:t>
                      </a: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(</a:t>
                      </a:r>
                      <a:r>
                        <a:rPr kumimoji="0" lang="ru-RU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фраксипарин</a:t>
                      </a: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)</a:t>
                      </a:r>
                      <a:endParaRPr kumimoji="0" lang="ru-RU" sz="3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91429" marR="91429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,3–0,6 мл (2850–5700 ME)   1 раз /</a:t>
                      </a:r>
                      <a:r>
                        <a:rPr kumimoji="0" lang="ru-RU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ут</a:t>
                      </a:r>
                      <a:endParaRPr kumimoji="0" lang="ru-RU" sz="3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91429" marR="91429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Бемипарин</a:t>
                      </a: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(</a:t>
                      </a:r>
                      <a:r>
                        <a:rPr kumimoji="0" lang="ru-RU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цибор</a:t>
                      </a: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)</a:t>
                      </a:r>
                    </a:p>
                  </a:txBody>
                  <a:tcPr marL="91429" marR="91429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500-3500 ЕД </a:t>
                      </a:r>
                      <a:r>
                        <a:rPr kumimoji="0" lang="ru-RU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</a:t>
                      </a: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/к</a:t>
                      </a:r>
                    </a:p>
                  </a:txBody>
                  <a:tcPr marL="91429" marR="91429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7670" name="Rectangle 33"/>
          <p:cNvSpPr>
            <a:spLocks noGrp="1" noChangeArrowheads="1"/>
          </p:cNvSpPr>
          <p:nvPr>
            <p:ph type="title"/>
          </p:nvPr>
        </p:nvSpPr>
        <p:spPr>
          <a:xfrm>
            <a:off x="639563" y="260648"/>
            <a:ext cx="7923213" cy="647700"/>
          </a:xfrm>
        </p:spPr>
        <p:txBody>
          <a:bodyPr/>
          <a:lstStyle/>
          <a:p>
            <a:pPr eaLnBrk="1" hangingPunct="1"/>
            <a:r>
              <a:rPr lang="ru-RU" sz="2800" b="1" dirty="0" smtClean="0">
                <a:solidFill>
                  <a:srgbClr val="0000FF"/>
                </a:solidFill>
              </a:rPr>
              <a:t>Профилактические дозы  гепаринов</a:t>
            </a:r>
          </a:p>
        </p:txBody>
      </p:sp>
      <p:pic>
        <p:nvPicPr>
          <p:cNvPr id="27672" name="Picture 27" descr="Картинка 30 из 352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3861048"/>
            <a:ext cx="2866653" cy="1468286"/>
          </a:xfrm>
          <a:prstGeom prst="rect">
            <a:avLst/>
          </a:prstGeom>
          <a:noFill/>
          <a:ln>
            <a:noFill/>
          </a:ln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611560" y="5517232"/>
            <a:ext cx="770485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</a:rPr>
              <a:t>Если тромбопрофилактика нужна – она проводится </a:t>
            </a:r>
            <a:r>
              <a:rPr lang="ru-RU" sz="2800" b="1" i="1" dirty="0" smtClean="0">
                <a:solidFill>
                  <a:srgbClr val="FF0000"/>
                </a:solidFill>
              </a:rPr>
              <a:t>всю беременность</a:t>
            </a:r>
            <a:r>
              <a:rPr lang="ru-RU" sz="2400" b="1" dirty="0" smtClean="0">
                <a:solidFill>
                  <a:srgbClr val="FF0000"/>
                </a:solidFill>
              </a:rPr>
              <a:t> и в послеродовом периоде!!! </a:t>
            </a:r>
            <a:endParaRPr lang="ru-RU" sz="2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2768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2348880"/>
            <a:ext cx="8676456" cy="3498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293371" y="5013176"/>
            <a:ext cx="6480720" cy="504056"/>
          </a:xfrm>
          <a:prstGeom prst="rect">
            <a:avLst/>
          </a:prstGeom>
          <a:noFill/>
          <a:ln>
            <a:solidFill>
              <a:srgbClr val="FF7C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260648"/>
            <a:ext cx="3563888" cy="1595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-10791" y="3356992"/>
            <a:ext cx="9036496" cy="36004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4505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395536" y="188640"/>
            <a:ext cx="84249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0000FF"/>
                </a:solidFill>
              </a:rPr>
              <a:t>Профилактические дозы эноксапарина </a:t>
            </a:r>
            <a:r>
              <a:rPr lang="ru-RU" sz="2400" b="1" dirty="0" smtClean="0">
                <a:solidFill>
                  <a:srgbClr val="0000FF"/>
                </a:solidFill>
              </a:rPr>
              <a:t>и </a:t>
            </a:r>
            <a:r>
              <a:rPr lang="ru-RU" sz="2400" b="1" dirty="0" err="1" smtClean="0">
                <a:solidFill>
                  <a:srgbClr val="0000FF"/>
                </a:solidFill>
              </a:rPr>
              <a:t>дальтепарина</a:t>
            </a:r>
            <a:r>
              <a:rPr lang="ru-RU" sz="2400" b="1" dirty="0" smtClean="0">
                <a:solidFill>
                  <a:srgbClr val="0000FF"/>
                </a:solidFill>
              </a:rPr>
              <a:t> в </a:t>
            </a:r>
            <a:r>
              <a:rPr lang="ru-RU" sz="2400" b="1" dirty="0">
                <a:solidFill>
                  <a:srgbClr val="0000FF"/>
                </a:solidFill>
              </a:rPr>
              <a:t>зависимости от массы тела (</a:t>
            </a:r>
            <a:r>
              <a:rPr lang="en-US" sz="2400" b="1" dirty="0">
                <a:solidFill>
                  <a:srgbClr val="0000FF"/>
                </a:solidFill>
              </a:rPr>
              <a:t>RCOG</a:t>
            </a:r>
            <a:r>
              <a:rPr lang="ru-RU" sz="2400" b="1" dirty="0" smtClean="0">
                <a:solidFill>
                  <a:srgbClr val="0000FF"/>
                </a:solidFill>
              </a:rPr>
              <a:t>,2009, 2015)</a:t>
            </a:r>
            <a:endParaRPr lang="ru-RU" sz="2400" dirty="0">
              <a:solidFill>
                <a:srgbClr val="0000FF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7210906"/>
              </p:ext>
            </p:extLst>
          </p:nvPr>
        </p:nvGraphicFramePr>
        <p:xfrm>
          <a:off x="251521" y="1268763"/>
          <a:ext cx="8640958" cy="424847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827110"/>
                <a:gridCol w="2406924"/>
                <a:gridCol w="2406924"/>
              </a:tblGrid>
              <a:tr h="44313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</a:rPr>
                        <a:t>Вес </a:t>
                      </a:r>
                      <a:endParaRPr lang="ru-RU" sz="20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>
                          <a:effectLst/>
                        </a:rPr>
                        <a:t>Доза эноксапарина </a:t>
                      </a:r>
                      <a:endParaRPr lang="ru-RU" sz="2000" b="1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>
                          <a:effectLst/>
                        </a:rPr>
                        <a:t>Доза дальтепарина</a:t>
                      </a:r>
                      <a:endParaRPr lang="ru-RU" sz="2000" b="1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/>
                </a:tc>
              </a:tr>
              <a:tr h="32661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</a:rPr>
                        <a:t>Менее 50 </a:t>
                      </a:r>
                      <a:endParaRPr lang="ru-RU" sz="20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</a:rPr>
                        <a:t>20 мг </a:t>
                      </a:r>
                      <a:endParaRPr lang="ru-RU" sz="20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>
                          <a:effectLst/>
                        </a:rPr>
                        <a:t>2500 ЕД</a:t>
                      </a:r>
                      <a:endParaRPr lang="ru-RU" sz="2000" b="1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</a:tr>
              <a:tr h="32661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</a:rPr>
                        <a:t>51-90 </a:t>
                      </a:r>
                      <a:endParaRPr lang="ru-RU" sz="20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</a:rPr>
                        <a:t>40 мг </a:t>
                      </a:r>
                      <a:endParaRPr lang="ru-RU" sz="20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</a:rPr>
                        <a:t>5000 ЕД</a:t>
                      </a:r>
                      <a:endParaRPr lang="ru-RU" sz="20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</a:tr>
              <a:tr h="32661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>
                          <a:effectLst/>
                        </a:rPr>
                        <a:t>91-130 </a:t>
                      </a:r>
                      <a:endParaRPr lang="ru-RU" sz="2000" b="1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</a:rPr>
                        <a:t>60 мг </a:t>
                      </a:r>
                      <a:endParaRPr lang="ru-RU" sz="20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</a:rPr>
                        <a:t>7500 ЕД</a:t>
                      </a:r>
                      <a:endParaRPr lang="ru-RU" sz="20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</a:tr>
              <a:tr h="32661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>
                          <a:effectLst/>
                        </a:rPr>
                        <a:t>130-170</a:t>
                      </a:r>
                      <a:endParaRPr lang="ru-RU" sz="2000" b="1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</a:rPr>
                        <a:t>80 мг </a:t>
                      </a:r>
                      <a:endParaRPr lang="ru-RU" sz="20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</a:rPr>
                        <a:t>10000 ЕД</a:t>
                      </a:r>
                      <a:endParaRPr lang="ru-RU" sz="20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</a:tr>
              <a:tr h="32661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>
                          <a:effectLst/>
                        </a:rPr>
                        <a:t>Более 170 </a:t>
                      </a:r>
                      <a:endParaRPr lang="ru-RU" sz="2000" b="1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</a:rPr>
                        <a:t>0,6 мг/кг/сутки </a:t>
                      </a:r>
                      <a:endParaRPr lang="ru-RU" sz="20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</a:rPr>
                        <a:t>75 ЕД/кг/сутки</a:t>
                      </a:r>
                      <a:endParaRPr lang="ru-RU" sz="20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</a:tr>
              <a:tr h="748798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>
                          <a:effectLst/>
                        </a:rPr>
                        <a:t>Промежуточная доза  (при весе 50-90 кг) </a:t>
                      </a:r>
                      <a:endParaRPr lang="ru-RU" sz="2000" b="1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>
                          <a:effectLst/>
                        </a:rPr>
                        <a:t>40 мг 2 раза в сутки </a:t>
                      </a:r>
                      <a:endParaRPr lang="ru-RU" sz="2000" b="1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</a:rPr>
                        <a:t>5000 ЕД 2 раза в сутки</a:t>
                      </a:r>
                      <a:endParaRPr lang="ru-RU" sz="20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</a:tr>
              <a:tr h="142349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</a:rPr>
                        <a:t>Лечебная доза </a:t>
                      </a:r>
                      <a:endParaRPr lang="ru-RU" sz="20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>
                          <a:effectLst/>
                        </a:rPr>
                        <a:t>1,0 мг/кг  2 раза в сутки – во время беременности</a:t>
                      </a:r>
                      <a:endParaRPr lang="ru-RU" sz="2000">
                        <a:effectLst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>
                          <a:effectLst/>
                        </a:rPr>
                        <a:t>1,5 мг/кг в сутки –после родов </a:t>
                      </a:r>
                      <a:endParaRPr lang="ru-RU" sz="2000" b="1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</a:rPr>
                        <a:t>100 ЕД/кг 2 раза в сутки</a:t>
                      </a:r>
                      <a:endParaRPr lang="ru-RU" sz="2000" dirty="0">
                        <a:effectLst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</a:rPr>
                        <a:t>200 ЕД/кг в сутки после родов</a:t>
                      </a:r>
                      <a:endParaRPr lang="ru-RU" sz="20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0" y="2060848"/>
            <a:ext cx="9036496" cy="36004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9469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Заголовок 1"/>
          <p:cNvSpPr>
            <a:spLocks noGrp="1"/>
          </p:cNvSpPr>
          <p:nvPr>
            <p:ph type="title"/>
          </p:nvPr>
        </p:nvSpPr>
        <p:spPr>
          <a:xfrm>
            <a:off x="1907704" y="332656"/>
            <a:ext cx="5843588" cy="504056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0000FF"/>
                </a:solidFill>
              </a:rPr>
              <a:t>Лечебные дозы </a:t>
            </a:r>
            <a:r>
              <a:rPr lang="ru-RU" sz="2800" b="1" dirty="0" err="1" smtClean="0">
                <a:solidFill>
                  <a:srgbClr val="0000FF"/>
                </a:solidFill>
              </a:rPr>
              <a:t>клексана</a:t>
            </a:r>
            <a:endParaRPr lang="ru-RU" sz="2800" b="1" dirty="0" smtClean="0">
              <a:solidFill>
                <a:srgbClr val="0000FF"/>
              </a:solidFill>
            </a:endParaRPr>
          </a:p>
        </p:txBody>
      </p:sp>
      <p:sp>
        <p:nvSpPr>
          <p:cNvPr id="70659" name="Содержимое 4"/>
          <p:cNvSpPr>
            <a:spLocks noGrp="1"/>
          </p:cNvSpPr>
          <p:nvPr>
            <p:ph idx="1"/>
          </p:nvPr>
        </p:nvSpPr>
        <p:spPr>
          <a:xfrm>
            <a:off x="107504" y="1052736"/>
            <a:ext cx="9001000" cy="5544616"/>
          </a:xfrm>
        </p:spPr>
        <p:txBody>
          <a:bodyPr>
            <a:normAutofit/>
          </a:bodyPr>
          <a:lstStyle/>
          <a:p>
            <a:pPr algn="ctr">
              <a:buFontTx/>
              <a:buNone/>
            </a:pPr>
            <a:r>
              <a:rPr lang="ru-RU" sz="2000" b="1" dirty="0" smtClean="0"/>
              <a:t>При лечении венозного тромбоза: доза  НМГ </a:t>
            </a:r>
            <a:r>
              <a:rPr lang="ru-RU" sz="2000" b="1" dirty="0" err="1" smtClean="0"/>
              <a:t>расчитывается</a:t>
            </a:r>
            <a:r>
              <a:rPr lang="ru-RU" sz="2000" b="1" dirty="0" smtClean="0"/>
              <a:t>  только на  </a:t>
            </a:r>
            <a:r>
              <a:rPr lang="ru-RU" sz="2400" b="1" dirty="0" smtClean="0">
                <a:solidFill>
                  <a:srgbClr val="FF0000"/>
                </a:solidFill>
              </a:rPr>
              <a:t>кг массы тела</a:t>
            </a:r>
            <a:r>
              <a:rPr lang="ru-RU" sz="2000" b="1" dirty="0" smtClean="0">
                <a:solidFill>
                  <a:srgbClr val="FF0000"/>
                </a:solidFill>
              </a:rPr>
              <a:t> </a:t>
            </a:r>
            <a:r>
              <a:rPr lang="ru-RU" sz="2000" b="1" dirty="0" smtClean="0"/>
              <a:t>и вводится </a:t>
            </a:r>
            <a:r>
              <a:rPr lang="ru-RU" sz="2400" b="1" dirty="0" smtClean="0">
                <a:solidFill>
                  <a:srgbClr val="FF0000"/>
                </a:solidFill>
              </a:rPr>
              <a:t>дважды</a:t>
            </a:r>
            <a:r>
              <a:rPr lang="ru-RU" sz="2000" b="1" dirty="0" smtClean="0"/>
              <a:t> в сутки п/к</a:t>
            </a:r>
          </a:p>
          <a:p>
            <a:pPr algn="ctr">
              <a:buFontTx/>
              <a:buNone/>
            </a:pPr>
            <a:r>
              <a:rPr lang="ru-RU" sz="2000" b="1" dirty="0" smtClean="0"/>
              <a:t>Контроль эффективности –уровень анти-Ха активности – 0,6-1,2 ЕД/мл 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2224784"/>
              </p:ext>
            </p:extLst>
          </p:nvPr>
        </p:nvGraphicFramePr>
        <p:xfrm>
          <a:off x="323529" y="2636912"/>
          <a:ext cx="5184576" cy="2189163"/>
        </p:xfrm>
        <a:graphic>
          <a:graphicData uri="http://schemas.openxmlformats.org/drawingml/2006/table">
            <a:tbl>
              <a:tblPr/>
              <a:tblGrid>
                <a:gridCol w="1690463"/>
                <a:gridCol w="3494113"/>
              </a:tblGrid>
              <a:tr h="4381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ес, кг</a:t>
                      </a:r>
                    </a:p>
                  </a:txBody>
                  <a:tcPr marL="91439" marR="91439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Лечебная доза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лексан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81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енее 50</a:t>
                      </a:r>
                    </a:p>
                  </a:txBody>
                  <a:tcPr marL="91439" marR="91439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0 мг два раза в сутки</a:t>
                      </a:r>
                    </a:p>
                  </a:txBody>
                  <a:tcPr marL="91439" marR="9143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65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0-69</a:t>
                      </a:r>
                    </a:p>
                  </a:txBody>
                  <a:tcPr marL="91439" marR="91439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0 мг два раза в сутки</a:t>
                      </a:r>
                    </a:p>
                  </a:txBody>
                  <a:tcPr marL="91439" marR="9143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81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0-89</a:t>
                      </a:r>
                    </a:p>
                  </a:txBody>
                  <a:tcPr marL="91439" marR="91439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0 мг два раза в сутки</a:t>
                      </a:r>
                    </a:p>
                  </a:txBody>
                  <a:tcPr marL="91439" marR="9143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81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олее 90</a:t>
                      </a:r>
                    </a:p>
                  </a:txBody>
                  <a:tcPr marL="91439" marR="91439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 мг  два раза в сутки</a:t>
                      </a:r>
                    </a:p>
                  </a:txBody>
                  <a:tcPr marL="91439" marR="9143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050" name="Picture 2" descr="http://static.baza.farpost.ru/v/1342835147993_bulleti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5127" y="4985490"/>
            <a:ext cx="2482337" cy="1656184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0044" y="2627094"/>
            <a:ext cx="3286127" cy="2746122"/>
          </a:xfrm>
          <a:prstGeom prst="rect">
            <a:avLst/>
          </a:prstGeom>
          <a:noFill/>
          <a:ln>
            <a:noFill/>
          </a:ln>
          <a:effectLst>
            <a:softEdge rad="317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64464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24418"/>
            <a:ext cx="3466742" cy="2083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004" y="2492896"/>
            <a:ext cx="8679041" cy="3312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4067943" y="620688"/>
            <a:ext cx="480110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FF0000"/>
                </a:solidFill>
              </a:rPr>
              <a:t>Лечебные дозы эноксапарина</a:t>
            </a:r>
            <a:endParaRPr lang="ru-RU" sz="2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1791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24418"/>
            <a:ext cx="3466742" cy="2083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38" y="2564904"/>
            <a:ext cx="8907550" cy="3168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067943" y="620688"/>
            <a:ext cx="480110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FF0000"/>
                </a:solidFill>
              </a:rPr>
              <a:t>Лечебные дозы </a:t>
            </a:r>
            <a:r>
              <a:rPr lang="ru-RU" sz="2800" b="1" dirty="0" err="1" smtClean="0">
                <a:solidFill>
                  <a:srgbClr val="FF0000"/>
                </a:solidFill>
              </a:rPr>
              <a:t>дальтепарина</a:t>
            </a:r>
            <a:endParaRPr lang="ru-RU" sz="2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789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84" y="5013176"/>
            <a:ext cx="4500987" cy="1165679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84" y="1911271"/>
            <a:ext cx="4611680" cy="127675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83" y="3429000"/>
            <a:ext cx="4315159" cy="117627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84" y="260649"/>
            <a:ext cx="4381926" cy="134603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220643"/>
            <a:ext cx="4123432" cy="1208357"/>
          </a:xfrm>
          <a:prstGeom prst="rect">
            <a:avLst/>
          </a:prstGeom>
        </p:spPr>
      </p:pic>
      <p:sp>
        <p:nvSpPr>
          <p:cNvPr id="9" name="Овал 8"/>
          <p:cNvSpPr/>
          <p:nvPr/>
        </p:nvSpPr>
        <p:spPr>
          <a:xfrm>
            <a:off x="6876256" y="1274810"/>
            <a:ext cx="576064" cy="36004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6713278" y="2830507"/>
            <a:ext cx="576064" cy="36004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6580144" y="4293096"/>
            <a:ext cx="576064" cy="36004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5580112" y="5834668"/>
            <a:ext cx="576064" cy="36004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2411760" y="3162927"/>
            <a:ext cx="576064" cy="36004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350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74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500" y="1981200"/>
          <a:ext cx="8358188" cy="47609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Chart" r:id="rId5" imgW="6591300" imgH="3819449" progId="Excel.Chart.8">
                  <p:embed/>
                </p:oleObj>
              </mc:Choice>
              <mc:Fallback>
                <p:oleObj name="Chart" r:id="rId5" imgW="6591300" imgH="3819449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7500" y="1981200"/>
                        <a:ext cx="8358188" cy="47609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ounded Rectangle 8"/>
          <p:cNvSpPr/>
          <p:nvPr/>
        </p:nvSpPr>
        <p:spPr>
          <a:xfrm>
            <a:off x="106083" y="6381328"/>
            <a:ext cx="8964488" cy="432048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000" dirty="0">
              <a:solidFill>
                <a:srgbClr val="FFFFFF"/>
              </a:solidFill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41338" y="1285875"/>
            <a:ext cx="8351837" cy="55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ctr"/>
          <a:lstStyle/>
          <a:p>
            <a:pPr marL="285750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ru-RU" sz="1600" b="1" dirty="0">
                <a:solidFill>
                  <a:srgbClr val="FF0000"/>
                </a:solidFill>
              </a:rPr>
              <a:t>Препарат и его копии отличаются по</a:t>
            </a:r>
            <a:r>
              <a:rPr lang="en-US" sz="1600" b="1" dirty="0">
                <a:solidFill>
                  <a:srgbClr val="FF0000"/>
                </a:solidFill>
              </a:rPr>
              <a:t> </a:t>
            </a:r>
            <a:r>
              <a:rPr lang="ru-RU" sz="1600" b="1" dirty="0">
                <a:solidFill>
                  <a:srgbClr val="FF0000"/>
                </a:solidFill>
              </a:rPr>
              <a:t>распределению молекулярной массы. </a:t>
            </a:r>
          </a:p>
          <a:p>
            <a:pPr marL="285750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endParaRPr lang="ru-RU" sz="1600" b="1" dirty="0">
              <a:solidFill>
                <a:srgbClr val="FF0000"/>
              </a:solidFill>
            </a:endParaRPr>
          </a:p>
          <a:p>
            <a:pPr algn="just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ru-RU" sz="1400" dirty="0">
                <a:solidFill>
                  <a:srgbClr val="000000"/>
                </a:solidFill>
              </a:rPr>
              <a:t>Незначительные изменения на любой из стадий производства ведут к значительным изменениям в структуре молекулы действующего вещества, а значит и </a:t>
            </a:r>
            <a:r>
              <a:rPr lang="ru-RU" sz="1400" b="1" dirty="0">
                <a:solidFill>
                  <a:srgbClr val="FF6600"/>
                </a:solidFill>
              </a:rPr>
              <a:t>к изменению его клинических свойств</a:t>
            </a:r>
            <a:r>
              <a:rPr lang="ru-RU" sz="1400" dirty="0">
                <a:solidFill>
                  <a:srgbClr val="FF6600"/>
                </a:solidFill>
              </a:rPr>
              <a:t>. </a:t>
            </a:r>
          </a:p>
        </p:txBody>
      </p:sp>
      <p:sp>
        <p:nvSpPr>
          <p:cNvPr id="31751" name="Rectangle 2"/>
          <p:cNvSpPr txBox="1">
            <a:spLocks noChangeArrowheads="1"/>
          </p:cNvSpPr>
          <p:nvPr/>
        </p:nvSpPr>
        <p:spPr bwMode="auto">
          <a:xfrm>
            <a:off x="663575" y="260350"/>
            <a:ext cx="7940675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lnSpc>
                <a:spcPct val="10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200" b="1" smtClean="0">
                <a:solidFill>
                  <a:srgbClr val="444492"/>
                </a:solidFill>
              </a:rPr>
              <a:t>Биологические препараты и биоаналоги</a:t>
            </a:r>
            <a:r>
              <a:rPr lang="en-US" altLang="ru-RU" sz="2200" b="1" smtClean="0">
                <a:solidFill>
                  <a:srgbClr val="565656"/>
                </a:solidFill>
              </a:rPr>
              <a:t> </a:t>
            </a:r>
            <a:br>
              <a:rPr lang="en-US" altLang="ru-RU" sz="2200" b="1" smtClean="0">
                <a:solidFill>
                  <a:srgbClr val="565656"/>
                </a:solidFill>
              </a:rPr>
            </a:br>
            <a:r>
              <a:rPr lang="ru-RU" altLang="ru-RU" sz="2200" b="1" smtClean="0">
                <a:solidFill>
                  <a:srgbClr val="ACB317"/>
                </a:solidFill>
              </a:rPr>
              <a:t>Качественная дифференциация - </a:t>
            </a:r>
            <a:r>
              <a:rPr lang="en-US" altLang="ru-RU" sz="2200" b="1" smtClean="0">
                <a:solidFill>
                  <a:srgbClr val="ACB317"/>
                </a:solidFill>
              </a:rPr>
              <a:t>I</a:t>
            </a:r>
            <a:endParaRPr lang="ru-RU" altLang="ru-RU" sz="2200" b="1" smtClean="0">
              <a:solidFill>
                <a:srgbClr val="ACB317"/>
              </a:solidFill>
            </a:endParaRPr>
          </a:p>
        </p:txBody>
      </p:sp>
      <p:sp>
        <p:nvSpPr>
          <p:cNvPr id="31752" name="Oval 10"/>
          <p:cNvSpPr>
            <a:spLocks noChangeArrowheads="1"/>
          </p:cNvSpPr>
          <p:nvPr/>
        </p:nvSpPr>
        <p:spPr bwMode="auto">
          <a:xfrm>
            <a:off x="3563938" y="5445125"/>
            <a:ext cx="649287" cy="936625"/>
          </a:xfrm>
          <a:prstGeom prst="ellipse">
            <a:avLst/>
          </a:prstGeom>
          <a:noFill/>
          <a:ln w="25400" algn="ctr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altLang="ru-RU" smtClean="0">
              <a:solidFill>
                <a:srgbClr val="565656"/>
              </a:solidFill>
            </a:endParaRPr>
          </a:p>
        </p:txBody>
      </p:sp>
      <p:sp>
        <p:nvSpPr>
          <p:cNvPr id="31753" name="Rectangle 1"/>
          <p:cNvSpPr>
            <a:spLocks noChangeArrowheads="1"/>
          </p:cNvSpPr>
          <p:nvPr/>
        </p:nvSpPr>
        <p:spPr bwMode="auto">
          <a:xfrm>
            <a:off x="104775" y="6597650"/>
            <a:ext cx="84994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fr-FR" altLang="ru-RU" sz="800" smtClean="0">
                <a:solidFill>
                  <a:srgbClr val="565656"/>
                </a:solidFill>
              </a:rPr>
              <a:t>W.P. Jeske, J. Walenga.  Dependent Variations in the Anticoagulant &amp; Protamine Sulfate Neutralization Profiles of Generic Copies of Enoxaparin. Poster. ASH Dec 2006 </a:t>
            </a:r>
            <a:endParaRPr lang="ru-RU" altLang="ru-RU" sz="800" smtClean="0">
              <a:solidFill>
                <a:srgbClr val="565656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55650" y="908050"/>
            <a:ext cx="5761038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1755" name="TextBox 2"/>
          <p:cNvSpPr txBox="1">
            <a:spLocks noChangeArrowheads="1"/>
          </p:cNvSpPr>
          <p:nvPr/>
        </p:nvSpPr>
        <p:spPr bwMode="auto">
          <a:xfrm rot="-5400000">
            <a:off x="3498057" y="5779293"/>
            <a:ext cx="781050" cy="27781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200" smtClean="0">
                <a:solidFill>
                  <a:srgbClr val="000000"/>
                </a:solidFill>
              </a:rPr>
              <a:t>Клексан</a:t>
            </a:r>
          </a:p>
        </p:txBody>
      </p:sp>
    </p:spTree>
    <p:extLst>
      <p:ext uri="{BB962C8B-B14F-4D97-AF65-F5344CB8AC3E}">
        <p14:creationId xmlns:p14="http://schemas.microsoft.com/office/powerpoint/2010/main" val="2839144395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67544" y="1052736"/>
            <a:ext cx="82809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800" b="1" dirty="0" smtClean="0">
                <a:solidFill>
                  <a:srgbClr val="FF0000"/>
                </a:solidFill>
              </a:rPr>
              <a:t>Контроль эффективности</a:t>
            </a:r>
            <a:endParaRPr lang="ru-RU" sz="4800" b="1" dirty="0">
              <a:solidFill>
                <a:srgbClr val="FF000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7744" y="2564904"/>
            <a:ext cx="4320479" cy="3240360"/>
          </a:xfrm>
          <a:prstGeom prst="rect">
            <a:avLst/>
          </a:prstGeom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814295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4" y="1241395"/>
            <a:ext cx="2081853" cy="3150512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4643" y="185130"/>
            <a:ext cx="1584226" cy="751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6504" y="4451511"/>
            <a:ext cx="3228139" cy="2152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85130"/>
            <a:ext cx="2903166" cy="950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836711"/>
            <a:ext cx="3246026" cy="152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024" y="1241395"/>
            <a:ext cx="2987824" cy="1388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797" y="4581128"/>
            <a:ext cx="3187700" cy="202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736" y="2795457"/>
            <a:ext cx="3546992" cy="1266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827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95536" y="404664"/>
            <a:ext cx="8229600" cy="490537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sz="2800" b="1" dirty="0" smtClean="0">
                <a:solidFill>
                  <a:srgbClr val="0000FF"/>
                </a:solidFill>
              </a:rPr>
              <a:t>Лабораторные тесты при профилактике и лечении тромбозов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0809014"/>
              </p:ext>
            </p:extLst>
          </p:nvPr>
        </p:nvGraphicFramePr>
        <p:xfrm>
          <a:off x="323528" y="1268760"/>
          <a:ext cx="8569325" cy="3948414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4320480"/>
                <a:gridCol w="4248845"/>
              </a:tblGrid>
              <a:tr h="504056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 smtClean="0">
                          <a:solidFill>
                            <a:schemeClr val="bg1"/>
                          </a:solidFill>
                        </a:rPr>
                        <a:t>Показатель</a:t>
                      </a:r>
                      <a:endParaRPr lang="ru-RU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44" marR="91444" marT="45727" marB="4572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 smtClean="0">
                          <a:solidFill>
                            <a:schemeClr val="bg1"/>
                          </a:solidFill>
                        </a:rPr>
                        <a:t>Цель</a:t>
                      </a:r>
                      <a:endParaRPr lang="ru-RU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44" marR="91444" marT="45727" marB="45727"/>
                </a:tc>
              </a:tr>
              <a:tr h="936104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solidFill>
                            <a:srgbClr val="0066FF"/>
                          </a:solidFill>
                        </a:rPr>
                        <a:t>Активированное парциальное (частичное) </a:t>
                      </a:r>
                      <a:r>
                        <a:rPr lang="ru-RU" sz="2000" b="1" dirty="0" err="1" smtClean="0">
                          <a:solidFill>
                            <a:srgbClr val="0066FF"/>
                          </a:solidFill>
                        </a:rPr>
                        <a:t>тромбопластиновое</a:t>
                      </a:r>
                      <a:r>
                        <a:rPr lang="ru-RU" sz="2000" b="1" dirty="0" smtClean="0">
                          <a:solidFill>
                            <a:srgbClr val="0066FF"/>
                          </a:solidFill>
                        </a:rPr>
                        <a:t> время (АПТВ, АЧТВ, </a:t>
                      </a:r>
                      <a:r>
                        <a:rPr lang="en-US" sz="2000" b="1" dirty="0" err="1" smtClean="0">
                          <a:solidFill>
                            <a:srgbClr val="0066FF"/>
                          </a:solidFill>
                        </a:rPr>
                        <a:t>aPPT</a:t>
                      </a:r>
                      <a:r>
                        <a:rPr lang="ru-RU" sz="2000" b="1" dirty="0" smtClean="0">
                          <a:solidFill>
                            <a:srgbClr val="0066FF"/>
                          </a:solidFill>
                        </a:rPr>
                        <a:t>)</a:t>
                      </a:r>
                      <a:endParaRPr lang="ru-RU" sz="1800" b="1" dirty="0">
                        <a:solidFill>
                          <a:srgbClr val="0066FF"/>
                        </a:solidFill>
                      </a:endParaRPr>
                    </a:p>
                  </a:txBody>
                  <a:tcPr marL="91444" marR="91444" marT="45727" marB="45727"/>
                </a:tc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оценка эффективности применения гепаринов (НФ, НМГ).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7" marB="45727"/>
                </a:tc>
              </a:tr>
              <a:tr h="432048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err="1" smtClean="0">
                          <a:solidFill>
                            <a:srgbClr val="0066FF"/>
                          </a:solidFill>
                        </a:rPr>
                        <a:t>Анти-Ха</a:t>
                      </a:r>
                      <a:r>
                        <a:rPr lang="ru-RU" sz="2000" b="1" dirty="0" smtClean="0">
                          <a:solidFill>
                            <a:srgbClr val="0066FF"/>
                          </a:solidFill>
                        </a:rPr>
                        <a:t> активность  </a:t>
                      </a:r>
                    </a:p>
                    <a:p>
                      <a:endParaRPr lang="ru-RU" sz="1800" b="1" dirty="0">
                        <a:solidFill>
                          <a:srgbClr val="0066FF"/>
                        </a:solidFill>
                      </a:endParaRPr>
                    </a:p>
                  </a:txBody>
                  <a:tcPr marL="91444" marR="91444" marT="45727" marB="45727"/>
                </a:tc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оценка эффективности применения НМГ, </a:t>
                      </a:r>
                      <a:r>
                        <a:rPr lang="ru-RU" sz="1800" dirty="0" err="1" smtClean="0"/>
                        <a:t>фондапаринукса</a:t>
                      </a:r>
                      <a:r>
                        <a:rPr lang="ru-RU" sz="1800" dirty="0" smtClean="0"/>
                        <a:t>. </a:t>
                      </a:r>
                      <a:endParaRPr lang="ru-RU" sz="1800" b="1" dirty="0"/>
                    </a:p>
                  </a:txBody>
                  <a:tcPr marL="91444" marR="91444" marT="45727" marB="45727"/>
                </a:tc>
              </a:tr>
              <a:tr h="614522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solidFill>
                            <a:srgbClr val="0066FF"/>
                          </a:solidFill>
                        </a:rPr>
                        <a:t>Международное нормализованное отношение (МНО, </a:t>
                      </a:r>
                      <a:r>
                        <a:rPr lang="en-US" sz="2000" b="1" dirty="0" smtClean="0">
                          <a:solidFill>
                            <a:srgbClr val="0066FF"/>
                          </a:solidFill>
                        </a:rPr>
                        <a:t>INR</a:t>
                      </a:r>
                      <a:r>
                        <a:rPr lang="ru-RU" sz="2000" b="1" dirty="0" smtClean="0">
                          <a:solidFill>
                            <a:srgbClr val="0066FF"/>
                          </a:solidFill>
                        </a:rPr>
                        <a:t>) </a:t>
                      </a:r>
                      <a:endParaRPr lang="ru-RU" sz="1800" b="1" dirty="0">
                        <a:solidFill>
                          <a:srgbClr val="0066FF"/>
                        </a:solidFill>
                      </a:endParaRPr>
                    </a:p>
                  </a:txBody>
                  <a:tcPr marL="91444" marR="91444" marT="45727" marB="45727"/>
                </a:tc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оценка эффективности терапии антагонистами витамина К (</a:t>
                      </a:r>
                      <a:r>
                        <a:rPr lang="ru-RU" sz="1800" dirty="0" err="1" smtClean="0"/>
                        <a:t>варфарин</a:t>
                      </a:r>
                      <a:r>
                        <a:rPr lang="ru-RU" sz="1800" dirty="0" smtClean="0"/>
                        <a:t>).</a:t>
                      </a:r>
                      <a:endParaRPr lang="ru-RU" sz="1800" b="1" dirty="0"/>
                    </a:p>
                  </a:txBody>
                  <a:tcPr marL="91444" marR="91444" marT="45727" marB="45727"/>
                </a:tc>
              </a:tr>
              <a:tr h="396302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smtClean="0">
                          <a:solidFill>
                            <a:srgbClr val="0066FF"/>
                          </a:solidFill>
                        </a:rPr>
                        <a:t>D</a:t>
                      </a:r>
                      <a:r>
                        <a:rPr lang="ru-RU" sz="2000" b="1" dirty="0" smtClean="0">
                          <a:solidFill>
                            <a:srgbClr val="0066FF"/>
                          </a:solidFill>
                        </a:rPr>
                        <a:t>-</a:t>
                      </a:r>
                      <a:r>
                        <a:rPr lang="ru-RU" sz="2000" b="1" dirty="0" err="1" smtClean="0">
                          <a:solidFill>
                            <a:srgbClr val="0066FF"/>
                          </a:solidFill>
                        </a:rPr>
                        <a:t>димер</a:t>
                      </a:r>
                      <a:r>
                        <a:rPr lang="ru-RU" sz="2000" b="1" dirty="0" smtClean="0">
                          <a:solidFill>
                            <a:srgbClr val="0066FF"/>
                          </a:solidFill>
                        </a:rPr>
                        <a:t>.</a:t>
                      </a:r>
                      <a:endParaRPr lang="ru-RU" sz="1800" b="1" dirty="0">
                        <a:solidFill>
                          <a:srgbClr val="0066FF"/>
                        </a:solidFill>
                      </a:endParaRPr>
                    </a:p>
                  </a:txBody>
                  <a:tcPr marL="91444" marR="91444" marT="45727" marB="45727"/>
                </a:tc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активность </a:t>
                      </a:r>
                      <a:r>
                        <a:rPr lang="ru-RU" sz="1800" dirty="0" err="1" smtClean="0"/>
                        <a:t>фибринолиза</a:t>
                      </a:r>
                      <a:endParaRPr lang="ru-RU" sz="1800" b="1" dirty="0"/>
                    </a:p>
                  </a:txBody>
                  <a:tcPr marL="91444" marR="91444" marT="45727" marB="45727"/>
                </a:tc>
              </a:tr>
              <a:tr h="514230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solidFill>
                            <a:srgbClr val="0066FF"/>
                          </a:solidFill>
                        </a:rPr>
                        <a:t>Количество тромбоцитов</a:t>
                      </a:r>
                    </a:p>
                    <a:p>
                      <a:endParaRPr lang="ru-RU" sz="1800" b="1" dirty="0">
                        <a:solidFill>
                          <a:srgbClr val="0066FF"/>
                        </a:solidFill>
                      </a:endParaRPr>
                    </a:p>
                  </a:txBody>
                  <a:tcPr marL="91444" marR="91444" marT="45727" marB="45727"/>
                </a:tc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- контроль развития </a:t>
                      </a:r>
                      <a:r>
                        <a:rPr lang="ru-RU" sz="1800" dirty="0" err="1" smtClean="0"/>
                        <a:t>гепарин-индуцированной</a:t>
                      </a:r>
                      <a:r>
                        <a:rPr lang="ru-RU" sz="1800" dirty="0" smtClean="0"/>
                        <a:t> тромбоцитопении.</a:t>
                      </a:r>
                      <a:endParaRPr lang="ru-RU" sz="1800" b="1" dirty="0"/>
                    </a:p>
                  </a:txBody>
                  <a:tcPr marL="91444" marR="91444" marT="45727" marB="45727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67140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67544" y="1052736"/>
            <a:ext cx="828092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400" b="1" dirty="0" smtClean="0">
                <a:solidFill>
                  <a:srgbClr val="FF0000"/>
                </a:solidFill>
              </a:rPr>
              <a:t>Длительная, вторичная </a:t>
            </a:r>
            <a:r>
              <a:rPr lang="ru-RU" sz="4400" b="1" dirty="0" err="1" smtClean="0">
                <a:solidFill>
                  <a:srgbClr val="FF0000"/>
                </a:solidFill>
              </a:rPr>
              <a:t>тромбопрофилактика</a:t>
            </a:r>
            <a:endParaRPr lang="ru-RU" sz="4400" b="1" dirty="0">
              <a:solidFill>
                <a:srgbClr val="FF0000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2861910"/>
            <a:ext cx="2659380" cy="24384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088" y="3012415"/>
            <a:ext cx="2849853" cy="2137390"/>
          </a:xfrm>
          <a:prstGeom prst="rect">
            <a:avLst/>
          </a:prstGeom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3050316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ext Box 2"/>
          <p:cNvSpPr txBox="1">
            <a:spLocks noChangeArrowheads="1"/>
          </p:cNvSpPr>
          <p:nvPr/>
        </p:nvSpPr>
        <p:spPr bwMode="auto">
          <a:xfrm>
            <a:off x="251520" y="476672"/>
            <a:ext cx="619826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sz="2400" b="1" dirty="0">
                <a:solidFill>
                  <a:srgbClr val="0000FF"/>
                </a:solidFill>
              </a:rPr>
              <a:t>Антагонисты витамина К -варфарин</a:t>
            </a:r>
          </a:p>
        </p:txBody>
      </p:sp>
      <p:sp>
        <p:nvSpPr>
          <p:cNvPr id="28675" name="Text Box 35"/>
          <p:cNvSpPr txBox="1">
            <a:spLocks noChangeArrowheads="1"/>
          </p:cNvSpPr>
          <p:nvPr/>
        </p:nvSpPr>
        <p:spPr bwMode="auto">
          <a:xfrm>
            <a:off x="322263" y="3717032"/>
            <a:ext cx="8543775" cy="150810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defRPr/>
            </a:pPr>
            <a:r>
              <a:rPr lang="ru-RU" dirty="0"/>
              <a:t> </a:t>
            </a:r>
            <a:r>
              <a:rPr lang="ru-RU" sz="2000" b="1" dirty="0" err="1"/>
              <a:t>Варфарин</a:t>
            </a:r>
            <a:r>
              <a:rPr lang="ru-RU" sz="2000" b="1" dirty="0"/>
              <a:t> 5-10 мг используется  с </a:t>
            </a:r>
            <a:r>
              <a:rPr lang="ru-RU" sz="2000" b="1" dirty="0">
                <a:solidFill>
                  <a:srgbClr val="0000FF"/>
                </a:solidFill>
              </a:rPr>
              <a:t>первых суток </a:t>
            </a:r>
            <a:r>
              <a:rPr lang="ru-RU" sz="2000" b="1" dirty="0"/>
              <a:t> </a:t>
            </a:r>
            <a:r>
              <a:rPr lang="ru-RU" sz="2000" b="1" dirty="0">
                <a:solidFill>
                  <a:srgbClr val="0000FF"/>
                </a:solidFill>
              </a:rPr>
              <a:t>после </a:t>
            </a:r>
            <a:r>
              <a:rPr lang="ru-RU" sz="2000" b="1" dirty="0"/>
              <a:t>операции или родов.</a:t>
            </a:r>
          </a:p>
          <a:p>
            <a:pPr algn="ctr">
              <a:lnSpc>
                <a:spcPct val="110000"/>
              </a:lnSpc>
              <a:spcBef>
                <a:spcPct val="20000"/>
              </a:spcBef>
              <a:defRPr/>
            </a:pPr>
            <a:r>
              <a:rPr lang="ru-RU" sz="2000" b="1" dirty="0"/>
              <a:t>Применяется совместно с  НГ или НМГ в течение 3-5 суток для достижения МНО более 2,0-3,0 в течение 2-х сут., после чего гепарин </a:t>
            </a:r>
            <a:r>
              <a:rPr lang="ru-RU" sz="2000" b="1" dirty="0" smtClean="0"/>
              <a:t>отменяется</a:t>
            </a:r>
          </a:p>
        </p:txBody>
      </p:sp>
      <p:sp>
        <p:nvSpPr>
          <p:cNvPr id="24581" name="TextBox 8"/>
          <p:cNvSpPr txBox="1">
            <a:spLocks noChangeArrowheads="1"/>
          </p:cNvSpPr>
          <p:nvPr/>
        </p:nvSpPr>
        <p:spPr bwMode="auto">
          <a:xfrm>
            <a:off x="322263" y="1534979"/>
            <a:ext cx="8569325" cy="143885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lnSpc>
                <a:spcPts val="3500"/>
              </a:lnSpc>
              <a:defRPr/>
            </a:pPr>
            <a:r>
              <a:rPr lang="ru-RU" sz="2000" b="1" dirty="0"/>
              <a:t>Риск эмбриональных аномалий до 4,6- 8,2% - «</a:t>
            </a:r>
            <a:r>
              <a:rPr lang="en-US" sz="2000" b="1" dirty="0"/>
              <a:t>Fetal </a:t>
            </a:r>
            <a:r>
              <a:rPr lang="en-US" sz="2000" b="1" dirty="0" err="1"/>
              <a:t>Warfarin</a:t>
            </a:r>
            <a:r>
              <a:rPr lang="en-US" sz="2000" b="1" dirty="0"/>
              <a:t> Syndrome</a:t>
            </a:r>
            <a:r>
              <a:rPr lang="ru-RU" sz="2000" b="1" dirty="0"/>
              <a:t>»</a:t>
            </a:r>
          </a:p>
          <a:p>
            <a:pPr>
              <a:lnSpc>
                <a:spcPts val="3500"/>
              </a:lnSpc>
              <a:defRPr/>
            </a:pPr>
            <a:r>
              <a:rPr lang="ru-RU" sz="2000" b="1" dirty="0"/>
              <a:t>Потеря плода до 24-33%</a:t>
            </a:r>
          </a:p>
          <a:p>
            <a:pPr>
              <a:lnSpc>
                <a:spcPts val="3500"/>
              </a:lnSpc>
              <a:defRPr/>
            </a:pPr>
            <a:r>
              <a:rPr lang="ru-RU" sz="2000" b="1" dirty="0"/>
              <a:t>Кровотечения у матери и </a:t>
            </a:r>
            <a:r>
              <a:rPr lang="ru-RU" sz="2000" b="1" dirty="0" smtClean="0"/>
              <a:t>плода</a:t>
            </a:r>
          </a:p>
        </p:txBody>
      </p:sp>
      <p:pic>
        <p:nvPicPr>
          <p:cNvPr id="34821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101600"/>
            <a:ext cx="1565275" cy="143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08865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5" name="TextBox 5"/>
          <p:cNvSpPr txBox="1">
            <a:spLocks noChangeArrowheads="1"/>
          </p:cNvSpPr>
          <p:nvPr/>
        </p:nvSpPr>
        <p:spPr bwMode="auto">
          <a:xfrm>
            <a:off x="395288" y="188913"/>
            <a:ext cx="8424862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sz="2800" b="1" dirty="0">
                <a:solidFill>
                  <a:srgbClr val="0000FF"/>
                </a:solidFill>
              </a:rPr>
              <a:t>Профилактика артериального тромбоза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517518" y="1052736"/>
            <a:ext cx="6264696" cy="2677656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400" b="1" dirty="0">
                <a:solidFill>
                  <a:srgbClr val="0000FF"/>
                </a:solidFill>
              </a:rPr>
              <a:t>Все </a:t>
            </a:r>
            <a:r>
              <a:rPr lang="ru-RU" sz="2400" b="1" dirty="0" err="1">
                <a:solidFill>
                  <a:srgbClr val="0000FF"/>
                </a:solidFill>
              </a:rPr>
              <a:t>дезагреганты</a:t>
            </a:r>
            <a:r>
              <a:rPr lang="ru-RU" sz="2400" b="1" dirty="0">
                <a:solidFill>
                  <a:srgbClr val="0000FF"/>
                </a:solidFill>
              </a:rPr>
              <a:t>: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2400" b="1" dirty="0"/>
              <a:t> Антагонисты АДФ – </a:t>
            </a:r>
            <a:r>
              <a:rPr lang="ru-RU" sz="2400" b="1" dirty="0" err="1"/>
              <a:t>тиеноперидины</a:t>
            </a:r>
            <a:endParaRPr lang="ru-RU" sz="2400" b="1" dirty="0"/>
          </a:p>
          <a:p>
            <a:pPr>
              <a:buFont typeface="Arial" pitchFamily="34" charset="0"/>
              <a:buChar char="•"/>
              <a:defRPr/>
            </a:pPr>
            <a:r>
              <a:rPr lang="ru-RU" sz="2400" b="1" dirty="0"/>
              <a:t> Ингибиторы гликопротеинов </a:t>
            </a:r>
            <a:r>
              <a:rPr lang="en-US" sz="2400" b="1" dirty="0"/>
              <a:t> </a:t>
            </a:r>
            <a:r>
              <a:rPr lang="en-US" sz="2400" b="1" dirty="0" err="1"/>
              <a:t>IIb</a:t>
            </a:r>
            <a:r>
              <a:rPr lang="en-US" sz="2400" b="1" dirty="0"/>
              <a:t>/</a:t>
            </a:r>
            <a:r>
              <a:rPr lang="en-US" sz="2400" b="1" dirty="0" err="1"/>
              <a:t>IIIa</a:t>
            </a:r>
            <a:endParaRPr lang="ru-RU" sz="2400" b="1" dirty="0"/>
          </a:p>
          <a:p>
            <a:pPr>
              <a:buFont typeface="Arial" pitchFamily="34" charset="0"/>
              <a:buChar char="•"/>
              <a:defRPr/>
            </a:pPr>
            <a:r>
              <a:rPr lang="ru-RU" sz="2400" b="1" dirty="0"/>
              <a:t> Ацетилсалициловая кислота</a:t>
            </a:r>
          </a:p>
          <a:p>
            <a:pPr>
              <a:defRPr/>
            </a:pPr>
            <a:endParaRPr lang="ru-RU" sz="2400" b="1" dirty="0"/>
          </a:p>
          <a:p>
            <a:pPr algn="ctr">
              <a:defRPr/>
            </a:pPr>
            <a:r>
              <a:rPr lang="ru-RU" sz="2400" b="1" dirty="0">
                <a:solidFill>
                  <a:srgbClr val="FF0000"/>
                </a:solidFill>
              </a:rPr>
              <a:t>Противопоказаны во время беременности </a:t>
            </a:r>
            <a:r>
              <a:rPr lang="ru-RU" sz="2000" b="1" dirty="0">
                <a:solidFill>
                  <a:srgbClr val="FF0000"/>
                </a:solidFill>
              </a:rPr>
              <a:t>(смотри инструкции)</a:t>
            </a:r>
            <a:endParaRPr lang="ru-RU" sz="24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223" y="4401032"/>
            <a:ext cx="6348991" cy="1956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Овал 1"/>
          <p:cNvSpPr/>
          <p:nvPr/>
        </p:nvSpPr>
        <p:spPr>
          <a:xfrm>
            <a:off x="3419872" y="5733257"/>
            <a:ext cx="1728192" cy="43204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/>
          <p:cNvSpPr/>
          <p:nvPr/>
        </p:nvSpPr>
        <p:spPr>
          <a:xfrm>
            <a:off x="5580112" y="5949281"/>
            <a:ext cx="637718" cy="43204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11676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ext Box 3"/>
          <p:cNvSpPr txBox="1">
            <a:spLocks noChangeArrowheads="1"/>
          </p:cNvSpPr>
          <p:nvPr/>
        </p:nvSpPr>
        <p:spPr bwMode="auto">
          <a:xfrm>
            <a:off x="3635375" y="6021388"/>
            <a:ext cx="52578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ru-RU" sz="1200"/>
              <a:t>Mohler E. R. Atherothrombosis — Wave Goodbye to Combined Anticoagulation and Antiplatelet Therapy? 2007 Volume 357:293-296</a:t>
            </a:r>
          </a:p>
        </p:txBody>
      </p:sp>
      <p:pic>
        <p:nvPicPr>
          <p:cNvPr id="35843" name="Рисунок 5" descr="13f1ттт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36" y="980728"/>
            <a:ext cx="3240360" cy="4803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Скругленная прямоугольная выноска 4"/>
          <p:cNvSpPr/>
          <p:nvPr/>
        </p:nvSpPr>
        <p:spPr>
          <a:xfrm>
            <a:off x="3545296" y="1001369"/>
            <a:ext cx="5364932" cy="1491527"/>
          </a:xfrm>
          <a:prstGeom prst="wedgeRoundRectCallout">
            <a:avLst>
              <a:gd name="adj1" fmla="val -54958"/>
              <a:gd name="adj2" fmla="val 169536"/>
              <a:gd name="adj3" fmla="val 16667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dirty="0" smtClean="0">
                <a:solidFill>
                  <a:schemeClr val="tx1"/>
                </a:solidFill>
              </a:rPr>
              <a:t>Только </a:t>
            </a:r>
            <a:r>
              <a:rPr lang="ru-RU" sz="2000" b="1" dirty="0">
                <a:solidFill>
                  <a:srgbClr val="0000FF"/>
                </a:solidFill>
              </a:rPr>
              <a:t>аспирин</a:t>
            </a:r>
            <a:r>
              <a:rPr lang="ru-RU" sz="2000" b="1" dirty="0">
                <a:solidFill>
                  <a:schemeClr val="tx1"/>
                </a:solidFill>
              </a:rPr>
              <a:t> 60-75 мг/сутки</a:t>
            </a:r>
            <a:r>
              <a:rPr lang="ru-RU" sz="2000" b="1" dirty="0" smtClean="0">
                <a:solidFill>
                  <a:schemeClr val="tx1"/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b="1" dirty="0" smtClean="0">
                <a:solidFill>
                  <a:schemeClr val="tx1"/>
                </a:solidFill>
              </a:rPr>
              <a:t>Протезированные </a:t>
            </a:r>
            <a:r>
              <a:rPr lang="ru-RU" sz="1600" b="1" dirty="0">
                <a:solidFill>
                  <a:schemeClr val="tx1"/>
                </a:solidFill>
              </a:rPr>
              <a:t>клапаны сердца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b="1" dirty="0" smtClean="0">
                <a:solidFill>
                  <a:schemeClr val="tx1"/>
                </a:solidFill>
              </a:rPr>
              <a:t>АФС</a:t>
            </a:r>
            <a:endParaRPr lang="ru-RU" sz="16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b="1" dirty="0" smtClean="0">
                <a:solidFill>
                  <a:schemeClr val="tx1"/>
                </a:solidFill>
              </a:rPr>
              <a:t>После </a:t>
            </a:r>
            <a:r>
              <a:rPr lang="ru-RU" sz="1600" b="1" dirty="0">
                <a:solidFill>
                  <a:schemeClr val="tx1"/>
                </a:solidFill>
              </a:rPr>
              <a:t>инфаркта миокарда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b="1" dirty="0" smtClean="0">
                <a:solidFill>
                  <a:schemeClr val="tx1"/>
                </a:solidFill>
              </a:rPr>
              <a:t>После </a:t>
            </a:r>
            <a:r>
              <a:rPr lang="ru-RU" sz="1600" b="1" dirty="0">
                <a:solidFill>
                  <a:schemeClr val="tx1"/>
                </a:solidFill>
              </a:rPr>
              <a:t>ишемического инсульта </a:t>
            </a:r>
          </a:p>
        </p:txBody>
      </p:sp>
      <p:sp>
        <p:nvSpPr>
          <p:cNvPr id="35845" name="TextBox 5"/>
          <p:cNvSpPr txBox="1">
            <a:spLocks noChangeArrowheads="1"/>
          </p:cNvSpPr>
          <p:nvPr/>
        </p:nvSpPr>
        <p:spPr bwMode="auto">
          <a:xfrm>
            <a:off x="395288" y="188913"/>
            <a:ext cx="8424862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sz="2800" b="1" dirty="0">
                <a:solidFill>
                  <a:srgbClr val="0000FF"/>
                </a:solidFill>
              </a:rPr>
              <a:t>Профилактика артериального тромбоза</a:t>
            </a:r>
          </a:p>
        </p:txBody>
      </p:sp>
      <p:sp>
        <p:nvSpPr>
          <p:cNvPr id="8" name="Скругленная прямоугольная выноска 7"/>
          <p:cNvSpPr/>
          <p:nvPr/>
        </p:nvSpPr>
        <p:spPr>
          <a:xfrm>
            <a:off x="4978611" y="3665724"/>
            <a:ext cx="3914564" cy="1008112"/>
          </a:xfrm>
          <a:prstGeom prst="wedgeRoundRectCallout">
            <a:avLst>
              <a:gd name="adj1" fmla="val -87266"/>
              <a:gd name="adj2" fmla="val 24322"/>
              <a:gd name="adj3" fmla="val 16667"/>
            </a:avLst>
          </a:prstGeom>
          <a:solidFill>
            <a:schemeClr val="accent6">
              <a:lumMod val="20000"/>
              <a:lumOff val="80000"/>
            </a:schemeClr>
          </a:solidFill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dirty="0" smtClean="0">
                <a:solidFill>
                  <a:schemeClr val="tx1"/>
                </a:solidFill>
              </a:rPr>
              <a:t>Обязательно информированное согласие</a:t>
            </a:r>
            <a:endParaRPr lang="ru-RU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31739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8" grpId="1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1376401"/>
            <a:ext cx="5325307" cy="50895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53492" y="4149080"/>
            <a:ext cx="3672408" cy="64633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rgbClr val="3333CC"/>
                </a:solidFill>
              </a:rPr>
              <a:t>Риск тромбоза</a:t>
            </a:r>
            <a:endParaRPr lang="ru-RU" sz="3600" b="1" dirty="0">
              <a:solidFill>
                <a:srgbClr val="3333CC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220072" y="3140968"/>
            <a:ext cx="3672408" cy="1200329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rgbClr val="FF0000"/>
                </a:solidFill>
              </a:rPr>
              <a:t>Риск кровотечения</a:t>
            </a:r>
            <a:endParaRPr lang="ru-RU" sz="3600" b="1" dirty="0">
              <a:solidFill>
                <a:srgbClr val="FF0000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329985"/>
            <a:ext cx="878148" cy="878148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627784" y="476672"/>
            <a:ext cx="52565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rgbClr val="0033CC"/>
                </a:solidFill>
              </a:rPr>
              <a:t>Безопасность</a:t>
            </a:r>
            <a:endParaRPr lang="ru-RU" sz="4000" b="1" dirty="0">
              <a:solidFill>
                <a:srgbClr val="0033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2745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77875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rgbClr val="0000FF"/>
                </a:solidFill>
              </a:rPr>
              <a:t>Безопасность применения низкомолекулярных гепаринов во время беременности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9856883"/>
              </p:ext>
            </p:extLst>
          </p:nvPr>
        </p:nvGraphicFramePr>
        <p:xfrm>
          <a:off x="539552" y="1341438"/>
          <a:ext cx="8136136" cy="3314701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5544616"/>
                <a:gridCol w="2591520"/>
              </a:tblGrid>
              <a:tr h="65881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FF"/>
                          </a:solidFill>
                          <a:effectLst/>
                        </a:rPr>
                        <a:t>Осложнения</a:t>
                      </a:r>
                      <a:endParaRPr kumimoji="0" lang="ru-RU" sz="2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66F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FF"/>
                          </a:solidFill>
                          <a:effectLst/>
                        </a:rPr>
                        <a:t>Частота, % </a:t>
                      </a: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FF"/>
                          </a:solidFill>
                          <a:effectLst/>
                        </a:rPr>
                        <a:t>(95% CI)</a:t>
                      </a:r>
                      <a:endParaRPr kumimoji="0" lang="ru-RU" sz="2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66F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</a:tr>
              <a:tr h="4429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Антенатальное кровотечение</a:t>
                      </a:r>
                      <a:endParaRPr kumimoji="0" lang="ru-RU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43 (0,22–0,75)</a:t>
                      </a:r>
                      <a:endParaRPr kumimoji="0" lang="ru-RU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</a:tr>
              <a:tr h="4429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жные аллергические реакции</a:t>
                      </a:r>
                      <a:endParaRPr kumimoji="0" lang="ru-RU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80 (1,34–2,37)</a:t>
                      </a:r>
                      <a:endParaRPr kumimoji="0" lang="ru-RU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</a:tr>
              <a:tr h="4429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стеопороз – перелом</a:t>
                      </a:r>
                      <a:endParaRPr kumimoji="0" lang="ru-RU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4 (&lt;0,01–0,20)</a:t>
                      </a:r>
                      <a:endParaRPr kumimoji="0" lang="ru-RU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</a:tr>
              <a:tr h="4429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Тромбоцитопения (&lt;100 x 10</a:t>
                      </a:r>
                      <a:r>
                        <a:rPr kumimoji="0" lang="ru-RU" sz="2000" b="1" u="none" strike="noStrike" cap="none" normalizeH="0" baseline="30000" smtClean="0">
                          <a:ln>
                            <a:noFill/>
                          </a:ln>
                          <a:effectLst/>
                        </a:rPr>
                        <a:t>9</a:t>
                      </a:r>
                      <a:r>
                        <a:rPr kumimoji="0" lang="ru-RU" sz="2000" b="1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/л)</a:t>
                      </a:r>
                      <a:endParaRPr kumimoji="0" lang="ru-RU" sz="2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1 (0,02–0,32)</a:t>
                      </a:r>
                      <a:endParaRPr kumimoji="0" lang="ru-RU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</a:tr>
              <a:tr h="88423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твержденная </a:t>
                      </a:r>
                      <a:r>
                        <a:rPr kumimoji="0" lang="ru-RU" sz="2000" b="1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гепарин-индуцированная</a:t>
                      </a: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тромбоцитопения </a:t>
                      </a:r>
                      <a:endParaRPr kumimoji="0" lang="ru-RU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 (0,00–0,11)</a:t>
                      </a:r>
                      <a:endParaRPr kumimoji="0" lang="ru-RU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</a:tr>
            </a:tbl>
          </a:graphicData>
        </a:graphic>
      </p:graphicFrame>
      <p:pic>
        <p:nvPicPr>
          <p:cNvPr id="49178" name="Рисунок 3" descr="all_1227_f2.gi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776" y="4890742"/>
            <a:ext cx="2016224" cy="1511444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79" name="Рисунок 4" descr="all_1227_f3.g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031" y="4782864"/>
            <a:ext cx="2178521" cy="1636900"/>
          </a:xfrm>
          <a:prstGeom prst="rect">
            <a:avLst/>
          </a:prstGeom>
          <a:noFill/>
          <a:ln>
            <a:noFill/>
          </a:ln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90888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400" b="1" dirty="0">
                <a:solidFill>
                  <a:srgbClr val="3333CC"/>
                </a:solidFill>
              </a:rPr>
              <a:t>Методы инактивации антикоагулянтов и дезагрегантов в экстренной ситуации</a:t>
            </a:r>
            <a:br>
              <a:rPr lang="ru-RU" sz="2400" b="1" dirty="0">
                <a:solidFill>
                  <a:srgbClr val="3333CC"/>
                </a:solidFill>
              </a:rPr>
            </a:br>
            <a:endParaRPr lang="ru-RU" sz="2400" dirty="0">
              <a:solidFill>
                <a:srgbClr val="3333CC"/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4729879"/>
              </p:ext>
            </p:extLst>
          </p:nvPr>
        </p:nvGraphicFramePr>
        <p:xfrm>
          <a:off x="323528" y="1268760"/>
          <a:ext cx="8568952" cy="410445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231547"/>
                <a:gridCol w="5337405"/>
              </a:tblGrid>
              <a:tr h="29545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dirty="0">
                          <a:effectLst/>
                        </a:rPr>
                        <a:t>Препараты</a:t>
                      </a:r>
                      <a:endParaRPr lang="ru-RU" sz="16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dirty="0">
                          <a:effectLst/>
                        </a:rPr>
                        <a:t>Методы инактивации в экстренной ситуации</a:t>
                      </a:r>
                      <a:endParaRPr lang="ru-RU" sz="16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/>
                </a:tc>
              </a:tr>
              <a:tr h="76368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effectLst/>
                        </a:rPr>
                        <a:t>Нефракционированный гепарин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b="1" dirty="0">
                          <a:effectLst/>
                        </a:rPr>
                        <a:t>Протамина сульфат </a:t>
                      </a:r>
                      <a:r>
                        <a:rPr lang="ru-RU" sz="1600" dirty="0">
                          <a:effectLst/>
                        </a:rPr>
                        <a:t>(100 ЕД гепарина инактивируется 1 мг протамина сульфата). Максимальная доза 50 мг внутривенно</a:t>
                      </a:r>
                      <a:endParaRPr lang="ru-RU" sz="16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</a:tr>
              <a:tr h="103480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effectLst/>
                        </a:rPr>
                        <a:t>Низкомолекулярный гепарин </a:t>
                      </a:r>
                    </a:p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b="1" dirty="0">
                          <a:effectLst/>
                        </a:rPr>
                        <a:t>Протамина сульфат </a:t>
                      </a:r>
                      <a:r>
                        <a:rPr lang="ru-RU" sz="1600" dirty="0">
                          <a:effectLst/>
                        </a:rPr>
                        <a:t>инактивирует 60% активности (анти-Ха) НМГ и может использоваться для этой цели. При кровотечении на фоне НМГ показаны </a:t>
                      </a:r>
                      <a:r>
                        <a:rPr lang="ru-RU" sz="1800" b="1" dirty="0">
                          <a:effectLst/>
                        </a:rPr>
                        <a:t>СЗП и фактор </a:t>
                      </a:r>
                      <a:r>
                        <a:rPr lang="en-US" sz="1800" b="1" dirty="0">
                          <a:effectLst/>
                        </a:rPr>
                        <a:t>VIIa</a:t>
                      </a:r>
                      <a:endParaRPr lang="ru-RU" sz="16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</a:tr>
              <a:tr h="622525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effectLst/>
                        </a:rPr>
                        <a:t>Антагонисты витамина К – варфарин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b="1" dirty="0">
                          <a:effectLst/>
                        </a:rPr>
                        <a:t>концентрат протромбинового комплекса</a:t>
                      </a:r>
                      <a:r>
                        <a:rPr lang="ru-RU" sz="1600" dirty="0">
                          <a:effectLst/>
                        </a:rPr>
                        <a:t>, а при его отсутствии </a:t>
                      </a:r>
                      <a:r>
                        <a:rPr lang="ru-RU" sz="1800" b="1" dirty="0">
                          <a:effectLst/>
                        </a:rPr>
                        <a:t>– СЗП 10-15 мл/кг. Витамин К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</a:tr>
              <a:tr h="138798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effectLst/>
                        </a:rPr>
                        <a:t>Дезагреганты (ацетилсалициловая кислота, тиеноперидины, ингибторы гликопротеидов </a:t>
                      </a:r>
                      <a:r>
                        <a:rPr lang="en-US" sz="1800" dirty="0">
                          <a:effectLst/>
                        </a:rPr>
                        <a:t>IIB</a:t>
                      </a:r>
                      <a:r>
                        <a:rPr lang="ru-RU" sz="1800" dirty="0">
                          <a:effectLst/>
                        </a:rPr>
                        <a:t>-</a:t>
                      </a:r>
                      <a:r>
                        <a:rPr lang="en-US" sz="1800" dirty="0">
                          <a:effectLst/>
                        </a:rPr>
                        <a:t>IIIA</a:t>
                      </a:r>
                      <a:r>
                        <a:rPr lang="ru-RU" sz="1800" dirty="0">
                          <a:effectLst/>
                        </a:rPr>
                        <a:t>)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dirty="0">
                          <a:effectLst/>
                        </a:rPr>
                        <a:t>У всех групп дезагрегантов специфических ингибиторов нет и уменьшить эффект можно только экстренной трансфузией тромбоцитов, при невозможности применить неспецифическую терапию – </a:t>
                      </a:r>
                      <a:r>
                        <a:rPr lang="ru-RU" sz="1800" b="1" dirty="0">
                          <a:effectLst/>
                        </a:rPr>
                        <a:t>СЗП, фактор </a:t>
                      </a:r>
                      <a:r>
                        <a:rPr lang="en-US" sz="1800" b="1" dirty="0">
                          <a:effectLst/>
                        </a:rPr>
                        <a:t>VIIa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2460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800" b="1" dirty="0">
                <a:solidFill>
                  <a:srgbClr val="3333CC"/>
                </a:solidFill>
              </a:rPr>
              <a:t>Методы инактивации антикоагулянтов и дезагрегантов в экстренной ситуации</a:t>
            </a:r>
            <a:br>
              <a:rPr lang="ru-RU" sz="2800" b="1" dirty="0">
                <a:solidFill>
                  <a:srgbClr val="3333CC"/>
                </a:solidFill>
              </a:rPr>
            </a:br>
            <a:endParaRPr lang="ru-RU" sz="2800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7509702"/>
              </p:ext>
            </p:extLst>
          </p:nvPr>
        </p:nvGraphicFramePr>
        <p:xfrm>
          <a:off x="323528" y="1412776"/>
          <a:ext cx="8568952" cy="339991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314406"/>
                <a:gridCol w="5254546"/>
              </a:tblGrid>
              <a:tr h="299987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dirty="0">
                          <a:effectLst/>
                        </a:rPr>
                        <a:t>Препараты</a:t>
                      </a:r>
                      <a:endParaRPr lang="ru-RU" sz="16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>
                          <a:effectLst/>
                        </a:rPr>
                        <a:t>Методы инактивации в экстренной ситуации</a:t>
                      </a:r>
                      <a:endParaRPr lang="ru-RU" sz="1600" b="1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/>
                </a:tc>
              </a:tr>
              <a:tr h="949939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effectLst/>
                        </a:rPr>
                        <a:t>Ингибиторы Ха фактора (фондапаринукс, ривароксобан, апиксабан)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dirty="0">
                          <a:effectLst/>
                        </a:rPr>
                        <a:t>Прямых антагонистов нет. Неспецифическая нейтрализация эффекта </a:t>
                      </a:r>
                      <a:r>
                        <a:rPr lang="ru-RU" sz="1800" b="1" dirty="0">
                          <a:effectLst/>
                        </a:rPr>
                        <a:t>СЗП, фактор </a:t>
                      </a:r>
                      <a:r>
                        <a:rPr lang="en-US" sz="1800" b="1" dirty="0">
                          <a:effectLst/>
                        </a:rPr>
                        <a:t>VIIa</a:t>
                      </a:r>
                      <a:r>
                        <a:rPr lang="ru-RU" sz="1800" b="1" dirty="0">
                          <a:effectLst/>
                        </a:rPr>
                        <a:t>, концентрат протромбинового комплекса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</a:tr>
              <a:tr h="933856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effectLst/>
                        </a:rPr>
                        <a:t>Прямые ингибиторы тромбина (дибигатран, аргатробан)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dirty="0">
                          <a:effectLst/>
                        </a:rPr>
                        <a:t>Прямых антагонистов нет. Неспецифическая нейтрализация эффекта:  гемодиализ, </a:t>
                      </a:r>
                      <a:r>
                        <a:rPr lang="ru-RU" sz="1800" b="1" dirty="0">
                          <a:effectLst/>
                        </a:rPr>
                        <a:t>СЗП, фактор </a:t>
                      </a:r>
                      <a:r>
                        <a:rPr lang="en-US" sz="1800" b="1" dirty="0">
                          <a:effectLst/>
                        </a:rPr>
                        <a:t>VIIa</a:t>
                      </a:r>
                      <a:r>
                        <a:rPr lang="ru-RU" sz="1800" b="1" dirty="0">
                          <a:effectLst/>
                        </a:rPr>
                        <a:t>, концентрат протромбинового комплекса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</a:tr>
              <a:tr h="552522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effectLst/>
                        </a:rPr>
                        <a:t>Тромболитики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b="1" dirty="0">
                          <a:effectLst/>
                        </a:rPr>
                        <a:t>Антифибринолитики</a:t>
                      </a:r>
                      <a:r>
                        <a:rPr lang="ru-RU" sz="1600" dirty="0">
                          <a:effectLst/>
                        </a:rPr>
                        <a:t> (апротинин, транексамовая и аминокапроновая кислота)</a:t>
                      </a:r>
                      <a:endParaRPr lang="ru-RU" sz="16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54292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Заголовок 2"/>
          <p:cNvSpPr>
            <a:spLocks noGrp="1"/>
          </p:cNvSpPr>
          <p:nvPr>
            <p:ph type="title"/>
          </p:nvPr>
        </p:nvSpPr>
        <p:spPr>
          <a:xfrm>
            <a:off x="1475656" y="381000"/>
            <a:ext cx="6717184" cy="635000"/>
          </a:xfrm>
        </p:spPr>
        <p:txBody>
          <a:bodyPr>
            <a:normAutofit fontScale="90000"/>
          </a:bodyPr>
          <a:lstStyle/>
          <a:p>
            <a:r>
              <a:rPr lang="ru-RU" sz="2400" b="1" dirty="0" smtClean="0">
                <a:solidFill>
                  <a:srgbClr val="3333FF"/>
                </a:solidFill>
              </a:rPr>
              <a:t>Риск кровотечения                                    (противопоказания к </a:t>
            </a:r>
            <a:r>
              <a:rPr lang="ru-RU" sz="2400" b="1" dirty="0" err="1" smtClean="0">
                <a:solidFill>
                  <a:srgbClr val="3333FF"/>
                </a:solidFill>
              </a:rPr>
              <a:t>тромбопрофилактике</a:t>
            </a:r>
            <a:r>
              <a:rPr lang="ru-RU" sz="2400" b="1" dirty="0" smtClean="0">
                <a:solidFill>
                  <a:srgbClr val="3333FF"/>
                </a:solidFill>
              </a:rPr>
              <a:t> антикоагулянтами)</a:t>
            </a:r>
          </a:p>
        </p:txBody>
      </p:sp>
      <p:sp>
        <p:nvSpPr>
          <p:cNvPr id="50179" name="Содержимое 3"/>
          <p:cNvSpPr>
            <a:spLocks noGrp="1"/>
          </p:cNvSpPr>
          <p:nvPr>
            <p:ph idx="1"/>
          </p:nvPr>
        </p:nvSpPr>
        <p:spPr>
          <a:xfrm>
            <a:off x="250825" y="1557338"/>
            <a:ext cx="8642350" cy="4525962"/>
          </a:xfrm>
        </p:spPr>
        <p:txBody>
          <a:bodyPr>
            <a:noAutofit/>
          </a:bodyPr>
          <a:lstStyle/>
          <a:p>
            <a:pPr algn="just">
              <a:spcBef>
                <a:spcPts val="600"/>
              </a:spcBef>
            </a:pPr>
            <a:r>
              <a:rPr lang="ru-RU" sz="2000" b="1" dirty="0" smtClean="0"/>
              <a:t>Врожденная или приобретенная </a:t>
            </a:r>
            <a:r>
              <a:rPr lang="ru-RU" sz="2000" b="1" dirty="0" err="1" smtClean="0"/>
              <a:t>каогулопатия</a:t>
            </a:r>
            <a:r>
              <a:rPr lang="ru-RU" sz="2000" b="1" dirty="0" smtClean="0"/>
              <a:t> с повышенной кровоточивостью</a:t>
            </a:r>
          </a:p>
          <a:p>
            <a:pPr algn="just">
              <a:spcBef>
                <a:spcPts val="600"/>
              </a:spcBef>
            </a:pPr>
            <a:r>
              <a:rPr lang="ru-RU" sz="2000" b="1" dirty="0" smtClean="0"/>
              <a:t>Активное кровотечение во время беременности или после родов</a:t>
            </a:r>
          </a:p>
          <a:p>
            <a:pPr algn="just">
              <a:spcBef>
                <a:spcPts val="600"/>
              </a:spcBef>
            </a:pPr>
            <a:r>
              <a:rPr lang="ru-RU" sz="2000" b="1" dirty="0" smtClean="0"/>
              <a:t>Высокий риск кровотечения </a:t>
            </a:r>
            <a:r>
              <a:rPr lang="ru-RU" sz="1600" b="1" dirty="0" smtClean="0"/>
              <a:t>(</a:t>
            </a:r>
            <a:r>
              <a:rPr lang="ru-RU" sz="1600" b="1" dirty="0" err="1" smtClean="0"/>
              <a:t>предлежание</a:t>
            </a:r>
            <a:r>
              <a:rPr lang="ru-RU" sz="1600" b="1" dirty="0" smtClean="0"/>
              <a:t> плаценты)</a:t>
            </a:r>
            <a:endParaRPr lang="ru-RU" sz="2000" b="1" dirty="0" smtClean="0"/>
          </a:p>
          <a:p>
            <a:pPr algn="just">
              <a:spcBef>
                <a:spcPts val="600"/>
              </a:spcBef>
            </a:pPr>
            <a:r>
              <a:rPr lang="ru-RU" sz="2000" b="1" dirty="0" smtClean="0"/>
              <a:t>Тромбоцитопения </a:t>
            </a:r>
            <a:r>
              <a:rPr lang="ru-RU" sz="1600" b="1" dirty="0" smtClean="0"/>
              <a:t>(менее 75*10</a:t>
            </a:r>
            <a:r>
              <a:rPr lang="ru-RU" sz="1600" b="1" baseline="30000" dirty="0" smtClean="0"/>
              <a:t>9</a:t>
            </a:r>
            <a:r>
              <a:rPr lang="ru-RU" sz="1600" b="1" dirty="0" smtClean="0"/>
              <a:t>)</a:t>
            </a:r>
          </a:p>
          <a:p>
            <a:pPr algn="just">
              <a:spcBef>
                <a:spcPts val="600"/>
              </a:spcBef>
            </a:pPr>
            <a:r>
              <a:rPr lang="ru-RU" sz="2000" b="1" dirty="0" smtClean="0"/>
              <a:t>Геморрагический инсульт в пределах 4 недель</a:t>
            </a:r>
          </a:p>
          <a:p>
            <a:pPr algn="just">
              <a:spcBef>
                <a:spcPts val="600"/>
              </a:spcBef>
            </a:pPr>
            <a:r>
              <a:rPr lang="ru-RU" sz="2000" b="1" dirty="0" smtClean="0"/>
              <a:t>Тяжелая почечная недостаточность </a:t>
            </a:r>
            <a:r>
              <a:rPr lang="ru-RU" sz="1600" b="1" dirty="0" smtClean="0"/>
              <a:t>(КФ менее 30 мл/мин/1,73 м</a:t>
            </a:r>
            <a:r>
              <a:rPr lang="ru-RU" sz="1600" b="1" baseline="30000" dirty="0" smtClean="0"/>
              <a:t>2</a:t>
            </a:r>
            <a:r>
              <a:rPr lang="ru-RU" sz="1600" b="1" dirty="0" smtClean="0"/>
              <a:t>)</a:t>
            </a:r>
            <a:endParaRPr lang="ru-RU" sz="1800" b="1" dirty="0" smtClean="0"/>
          </a:p>
          <a:p>
            <a:pPr algn="just">
              <a:spcBef>
                <a:spcPts val="600"/>
              </a:spcBef>
            </a:pPr>
            <a:r>
              <a:rPr lang="ru-RU" sz="2000" b="1" dirty="0" smtClean="0"/>
              <a:t>Тяжелые заболевания печени </a:t>
            </a:r>
            <a:r>
              <a:rPr lang="ru-RU" sz="1600" b="1" dirty="0" smtClean="0"/>
              <a:t>(увеличение МНО, </a:t>
            </a:r>
            <a:r>
              <a:rPr lang="ru-RU" sz="1600" b="1" dirty="0" err="1" smtClean="0"/>
              <a:t>варикозно</a:t>
            </a:r>
            <a:r>
              <a:rPr lang="ru-RU" sz="1600" b="1" dirty="0" smtClean="0"/>
              <a:t> расширенные вены пищевода)</a:t>
            </a:r>
            <a:endParaRPr lang="ru-RU" sz="2000" b="1" dirty="0" smtClean="0"/>
          </a:p>
          <a:p>
            <a:pPr algn="just">
              <a:spcBef>
                <a:spcPts val="600"/>
              </a:spcBef>
            </a:pPr>
            <a:r>
              <a:rPr lang="ru-RU" sz="2000" b="1" dirty="0" smtClean="0"/>
              <a:t>Неконтролируемая артериальная гипертензия </a:t>
            </a:r>
            <a:r>
              <a:rPr lang="ru-RU" sz="1600" b="1" dirty="0" smtClean="0"/>
              <a:t>(более 200/120 мм </a:t>
            </a:r>
            <a:r>
              <a:rPr lang="ru-RU" sz="1600" b="1" dirty="0" err="1" smtClean="0"/>
              <a:t>рт.ст</a:t>
            </a:r>
            <a:r>
              <a:rPr lang="ru-RU" sz="1600" b="1" dirty="0" smtClean="0"/>
              <a:t>.)</a:t>
            </a:r>
          </a:p>
        </p:txBody>
      </p:sp>
      <p:pic>
        <p:nvPicPr>
          <p:cNvPr id="50180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88" y="115888"/>
            <a:ext cx="1165225" cy="1165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4991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3511" y="2308751"/>
            <a:ext cx="5372922" cy="3270867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90066"/>
          </a:xfrm>
        </p:spPr>
        <p:txBody>
          <a:bodyPr>
            <a:normAutofit fontScale="90000"/>
          </a:bodyPr>
          <a:lstStyle/>
          <a:p>
            <a:r>
              <a:rPr lang="ru-RU" sz="3600" b="1" dirty="0" smtClean="0">
                <a:solidFill>
                  <a:srgbClr val="0000FF"/>
                </a:solidFill>
              </a:rPr>
              <a:t>Проблема ВТЭО</a:t>
            </a:r>
            <a:endParaRPr lang="ru-RU" sz="3600" b="1" dirty="0">
              <a:solidFill>
                <a:srgbClr val="0000FF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1331640" y="980728"/>
            <a:ext cx="5976664" cy="13280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2400" b="1" dirty="0" smtClean="0">
                <a:solidFill>
                  <a:prstClr val="black"/>
                </a:solidFill>
              </a:rPr>
              <a:t>ВТЭО - 200 на </a:t>
            </a:r>
            <a:r>
              <a:rPr lang="ru-RU" sz="2400" b="1" dirty="0">
                <a:solidFill>
                  <a:prstClr val="black"/>
                </a:solidFill>
              </a:rPr>
              <a:t>100 000 </a:t>
            </a:r>
            <a:r>
              <a:rPr lang="ru-RU" sz="2400" b="1" dirty="0" smtClean="0">
                <a:solidFill>
                  <a:prstClr val="black"/>
                </a:solidFill>
              </a:rPr>
              <a:t>родов</a:t>
            </a:r>
          </a:p>
          <a:p>
            <a:pPr>
              <a:lnSpc>
                <a:spcPct val="150000"/>
              </a:lnSpc>
            </a:pPr>
            <a:r>
              <a:rPr lang="ru-RU" sz="2400" b="1" dirty="0" smtClean="0">
                <a:solidFill>
                  <a:prstClr val="black"/>
                </a:solidFill>
              </a:rPr>
              <a:t>Фатальная ТЭЛА – 1,2-4,7 на 100 000 родов </a:t>
            </a:r>
            <a:endParaRPr lang="ru-RU" sz="2400" b="1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27584" y="5579618"/>
            <a:ext cx="72728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FF0000"/>
                </a:solidFill>
              </a:rPr>
              <a:t>Истинную частоту тромбозов мы не знаем!</a:t>
            </a:r>
            <a:endParaRPr lang="ru-RU" sz="2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075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www.orteka.ru/upload/resize_cache/iblock/c30/600_600_1/c30e2f0b4aef5524ce28410ef2e54c3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72" y="2873924"/>
            <a:ext cx="3842792" cy="384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28" y="967601"/>
            <a:ext cx="3923928" cy="2788054"/>
          </a:xfrm>
          <a:prstGeom prst="rect">
            <a:avLst/>
          </a:prstGeom>
          <a:effectLst>
            <a:softEdge rad="317500"/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1696" y="2929970"/>
            <a:ext cx="1328101" cy="1432068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1210" y="2185155"/>
            <a:ext cx="820092" cy="828612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9677" y="4290050"/>
            <a:ext cx="3652912" cy="2437014"/>
          </a:xfrm>
          <a:prstGeom prst="rect">
            <a:avLst/>
          </a:prstGeom>
          <a:effectLst>
            <a:softEdge rad="317500"/>
          </a:effectLst>
        </p:spPr>
      </p:pic>
      <p:sp>
        <p:nvSpPr>
          <p:cNvPr id="6" name="TextBox 5"/>
          <p:cNvSpPr txBox="1"/>
          <p:nvPr/>
        </p:nvSpPr>
        <p:spPr>
          <a:xfrm>
            <a:off x="1547664" y="332656"/>
            <a:ext cx="64087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0033CC"/>
                </a:solidFill>
              </a:rPr>
              <a:t>Механическая </a:t>
            </a:r>
            <a:r>
              <a:rPr lang="ru-RU" sz="2400" b="1" dirty="0" err="1" smtClean="0">
                <a:solidFill>
                  <a:srgbClr val="0033CC"/>
                </a:solidFill>
              </a:rPr>
              <a:t>тромбопрофилактика</a:t>
            </a:r>
            <a:endParaRPr lang="ru-RU" sz="2400" b="1" dirty="0">
              <a:solidFill>
                <a:srgbClr val="0033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2412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36512" y="1051283"/>
            <a:ext cx="6768752" cy="1143000"/>
          </a:xfrm>
        </p:spPr>
        <p:txBody>
          <a:bodyPr>
            <a:normAutofit fontScale="90000"/>
          </a:bodyPr>
          <a:lstStyle/>
          <a:p>
            <a:r>
              <a:rPr lang="ru-RU" sz="3100" b="1" dirty="0" smtClean="0">
                <a:solidFill>
                  <a:srgbClr val="0000FF"/>
                </a:solidFill>
              </a:rPr>
              <a:t>Не </a:t>
            </a:r>
            <a:r>
              <a:rPr lang="ru-RU" sz="3100" b="1" dirty="0" smtClean="0">
                <a:solidFill>
                  <a:srgbClr val="0000FF"/>
                </a:solidFill>
              </a:rPr>
              <a:t>рекомендуется (или противопоказаны)                                                   </a:t>
            </a:r>
            <a:r>
              <a:rPr lang="ru-RU" sz="3100" b="1" dirty="0" smtClean="0">
                <a:solidFill>
                  <a:srgbClr val="0000FF"/>
                </a:solidFill>
              </a:rPr>
              <a:t>во время беременности для профилактики ВТЭО:</a:t>
            </a:r>
            <a:endParaRPr lang="ru-RU" sz="2800" b="1" dirty="0">
              <a:solidFill>
                <a:srgbClr val="0000FF"/>
              </a:solidFill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344542" y="2780928"/>
            <a:ext cx="6387698" cy="3777283"/>
          </a:xfrm>
        </p:spPr>
        <p:txBody>
          <a:bodyPr>
            <a:normAutofit/>
          </a:bodyPr>
          <a:lstStyle/>
          <a:p>
            <a:pPr>
              <a:spcBef>
                <a:spcPts val="1800"/>
              </a:spcBef>
            </a:pPr>
            <a:r>
              <a:rPr lang="ru-RU" sz="2800" b="1" dirty="0" err="1" smtClean="0"/>
              <a:t>Дезагреганты</a:t>
            </a:r>
            <a:r>
              <a:rPr lang="ru-RU" sz="2800" b="1" dirty="0" smtClean="0"/>
              <a:t> </a:t>
            </a:r>
            <a:r>
              <a:rPr lang="ru-RU" sz="2400" b="1" dirty="0" smtClean="0"/>
              <a:t>(аспирин, </a:t>
            </a:r>
            <a:r>
              <a:rPr lang="ru-RU" sz="2400" b="1" dirty="0" err="1" smtClean="0"/>
              <a:t>дипиридамол</a:t>
            </a:r>
            <a:r>
              <a:rPr lang="ru-RU" sz="2400" b="1" dirty="0" smtClean="0"/>
              <a:t>)</a:t>
            </a:r>
          </a:p>
          <a:p>
            <a:pPr>
              <a:spcBef>
                <a:spcPts val="1800"/>
              </a:spcBef>
            </a:pPr>
            <a:r>
              <a:rPr lang="ru-RU" sz="2800" b="1" dirty="0" err="1" smtClean="0"/>
              <a:t>Гепариноиды</a:t>
            </a:r>
            <a:r>
              <a:rPr lang="ru-RU" sz="2800" b="1" dirty="0" smtClean="0"/>
              <a:t> </a:t>
            </a:r>
            <a:r>
              <a:rPr lang="ru-RU" sz="2400" b="1" dirty="0" smtClean="0"/>
              <a:t>(</a:t>
            </a:r>
            <a:r>
              <a:rPr lang="ru-RU" sz="2400" b="1" dirty="0" err="1" smtClean="0"/>
              <a:t>сулодексид</a:t>
            </a:r>
            <a:r>
              <a:rPr lang="ru-RU" sz="2400" b="1" dirty="0" smtClean="0"/>
              <a:t>)</a:t>
            </a:r>
          </a:p>
          <a:p>
            <a:pPr>
              <a:spcBef>
                <a:spcPts val="1800"/>
              </a:spcBef>
            </a:pPr>
            <a:r>
              <a:rPr lang="ru-RU" sz="2800" b="1" dirty="0" smtClean="0"/>
              <a:t>Пероральные антикоагулянты </a:t>
            </a:r>
            <a:r>
              <a:rPr lang="ru-RU" sz="2400" b="1" dirty="0" smtClean="0"/>
              <a:t>(</a:t>
            </a:r>
            <a:r>
              <a:rPr lang="ru-RU" sz="2400" b="1" dirty="0" err="1" smtClean="0"/>
              <a:t>ривароксобан</a:t>
            </a:r>
            <a:r>
              <a:rPr lang="ru-RU" sz="2400" b="1" dirty="0" smtClean="0"/>
              <a:t>, </a:t>
            </a:r>
            <a:r>
              <a:rPr lang="ru-RU" sz="2400" b="1" dirty="0" err="1" smtClean="0"/>
              <a:t>дибигатран</a:t>
            </a:r>
            <a:r>
              <a:rPr lang="ru-RU" sz="2400" b="1" dirty="0" smtClean="0"/>
              <a:t>, </a:t>
            </a:r>
            <a:r>
              <a:rPr lang="ru-RU" sz="2400" b="1" dirty="0" err="1" smtClean="0"/>
              <a:t>апиксабан</a:t>
            </a:r>
            <a:r>
              <a:rPr lang="ru-RU" sz="2400" b="1" dirty="0" smtClean="0"/>
              <a:t>)</a:t>
            </a:r>
            <a:endParaRPr lang="ru-RU" sz="2400" b="1" dirty="0"/>
          </a:p>
        </p:txBody>
      </p:sp>
      <p:pic>
        <p:nvPicPr>
          <p:cNvPr id="3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03188" y="260648"/>
            <a:ext cx="2111046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2060848"/>
            <a:ext cx="2100114" cy="273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143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40FEB32-F878-4572-8556-DB53295F2517}" type="slidenum">
              <a:rPr lang="ru-RU" smtClean="0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52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9832" y="637543"/>
            <a:ext cx="5406306" cy="1728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980728"/>
            <a:ext cx="2952328" cy="879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2195747" y="260648"/>
            <a:ext cx="558999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rgbClr val="000000"/>
                </a:solidFill>
              </a:rPr>
              <a:t>Ultra-low-molecular-weight heparin</a:t>
            </a:r>
            <a:r>
              <a:rPr lang="ru-RU" b="1" dirty="0" smtClean="0">
                <a:solidFill>
                  <a:srgbClr val="000000"/>
                </a:solidFill>
              </a:rPr>
              <a:t>: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b="1" dirty="0" err="1" smtClean="0">
                <a:solidFill>
                  <a:srgbClr val="000000"/>
                </a:solidFill>
              </a:rPr>
              <a:t>semuloparin</a:t>
            </a:r>
            <a:endParaRPr lang="ru-RU" b="1" dirty="0">
              <a:solidFill>
                <a:srgbClr val="565656"/>
              </a:solidFill>
            </a:endParaRP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03" y="3140968"/>
            <a:ext cx="3047538" cy="1353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3112203"/>
            <a:ext cx="5479529" cy="31092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04117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389640" y="3429000"/>
            <a:ext cx="8229600" cy="1544638"/>
          </a:xfrm>
        </p:spPr>
        <p:txBody>
          <a:bodyPr/>
          <a:lstStyle/>
          <a:p>
            <a:pPr algn="ctr" eaLnBrk="1" hangingPunct="1">
              <a:lnSpc>
                <a:spcPct val="80000"/>
              </a:lnSpc>
              <a:buFontTx/>
              <a:buNone/>
            </a:pPr>
            <a:r>
              <a:rPr lang="en-US" b="1" dirty="0" smtClean="0">
                <a:hlinkClick r:id="rId2"/>
              </a:rPr>
              <a:t>kulikov1905@yandex.ru</a:t>
            </a:r>
            <a:endParaRPr lang="en-US" b="1" dirty="0" smtClean="0"/>
          </a:p>
          <a:p>
            <a:pPr algn="ctr" eaLnBrk="1" hangingPunct="1">
              <a:lnSpc>
                <a:spcPct val="80000"/>
              </a:lnSpc>
              <a:buFontTx/>
              <a:buNone/>
            </a:pPr>
            <a:r>
              <a:rPr lang="en-US" b="1" dirty="0" smtClean="0"/>
              <a:t>8 9122471023</a:t>
            </a:r>
            <a:endParaRPr lang="ru-RU" b="1" dirty="0" smtClean="0"/>
          </a:p>
        </p:txBody>
      </p:sp>
      <p:sp>
        <p:nvSpPr>
          <p:cNvPr id="51203" name="Text Box 3"/>
          <p:cNvSpPr txBox="1">
            <a:spLocks noChangeArrowheads="1"/>
          </p:cNvSpPr>
          <p:nvPr/>
        </p:nvSpPr>
        <p:spPr bwMode="auto">
          <a:xfrm>
            <a:off x="251520" y="2276872"/>
            <a:ext cx="850584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sz="4400" dirty="0">
                <a:solidFill>
                  <a:srgbClr val="000099"/>
                </a:solidFill>
                <a:latin typeface="Arial Black" pitchFamily="34" charset="0"/>
              </a:rPr>
              <a:t>Благодарю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33586218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5" y="116632"/>
            <a:ext cx="8879780" cy="6480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79512" y="4869160"/>
            <a:ext cx="8856984" cy="432048"/>
          </a:xfrm>
          <a:prstGeom prst="rect">
            <a:avLst/>
          </a:prstGeom>
          <a:solidFill>
            <a:srgbClr val="FF99FF">
              <a:alpha val="32941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679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>
          <a:xfrm>
            <a:off x="76095" y="2060848"/>
            <a:ext cx="2285999" cy="334938"/>
          </a:xfrm>
        </p:spPr>
        <p:txBody>
          <a:bodyPr/>
          <a:lstStyle/>
          <a:p>
            <a:pPr eaLnBrk="1" hangingPunct="1"/>
            <a:r>
              <a:rPr lang="ru-RU" sz="1400" b="1" dirty="0" err="1" smtClean="0"/>
              <a:t>Rudolph</a:t>
            </a:r>
            <a:r>
              <a:rPr lang="ru-RU" sz="1400" b="1" dirty="0" smtClean="0"/>
              <a:t> </a:t>
            </a:r>
            <a:r>
              <a:rPr lang="ru-RU" sz="1400" b="1" dirty="0" err="1" smtClean="0"/>
              <a:t>Virchow</a:t>
            </a:r>
            <a:r>
              <a:rPr lang="ru-RU" sz="1400" b="1" dirty="0" smtClean="0"/>
              <a:t>, 1859</a:t>
            </a:r>
          </a:p>
        </p:txBody>
      </p:sp>
      <p:pic>
        <p:nvPicPr>
          <p:cNvPr id="20483" name="Picture 3" descr="220px-Rudolf_Virchow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57188" y="214313"/>
            <a:ext cx="1550516" cy="1913094"/>
          </a:xfrm>
          <a:noFill/>
        </p:spPr>
      </p:pic>
      <p:sp>
        <p:nvSpPr>
          <p:cNvPr id="20484" name="Text Box 4"/>
          <p:cNvSpPr txBox="1">
            <a:spLocks noChangeArrowheads="1"/>
          </p:cNvSpPr>
          <p:nvPr/>
        </p:nvSpPr>
        <p:spPr bwMode="auto">
          <a:xfrm>
            <a:off x="827584" y="2708920"/>
            <a:ext cx="7920879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AutoNum type="arabicPeriod"/>
            </a:pPr>
            <a:r>
              <a:rPr lang="ru-RU" sz="2400" b="1" dirty="0" smtClean="0"/>
              <a:t>Застой </a:t>
            </a:r>
            <a:r>
              <a:rPr lang="ru-RU" sz="2400" b="1" dirty="0"/>
              <a:t>крови</a:t>
            </a:r>
          </a:p>
          <a:p>
            <a:pPr eaLnBrk="1" hangingPunct="1">
              <a:spcBef>
                <a:spcPct val="50000"/>
              </a:spcBef>
              <a:buFontTx/>
              <a:buAutoNum type="arabicPeriod"/>
            </a:pPr>
            <a:r>
              <a:rPr lang="ru-RU" sz="2400" b="1" dirty="0"/>
              <a:t>Нарушение целостности сосудистой стенки</a:t>
            </a:r>
          </a:p>
          <a:p>
            <a:pPr eaLnBrk="1" hangingPunct="1">
              <a:spcBef>
                <a:spcPct val="50000"/>
              </a:spcBef>
              <a:buFontTx/>
              <a:buAutoNum type="arabicPeriod"/>
            </a:pPr>
            <a:r>
              <a:rPr lang="ru-RU" sz="2400" b="1" dirty="0" err="1"/>
              <a:t>Гиперкоагуляция</a:t>
            </a:r>
            <a:endParaRPr lang="ru-RU" sz="2400" b="1" dirty="0"/>
          </a:p>
        </p:txBody>
      </p:sp>
      <p:sp>
        <p:nvSpPr>
          <p:cNvPr id="20485" name="Text Box 5"/>
          <p:cNvSpPr txBox="1">
            <a:spLocks noChangeArrowheads="1"/>
          </p:cNvSpPr>
          <p:nvPr/>
        </p:nvSpPr>
        <p:spPr bwMode="auto">
          <a:xfrm>
            <a:off x="395536" y="5880559"/>
            <a:ext cx="8640688" cy="761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ru-RU" sz="1050" dirty="0" err="1"/>
              <a:t>Virchow</a:t>
            </a:r>
            <a:r>
              <a:rPr lang="ru-RU" sz="1050" dirty="0"/>
              <a:t> RLK. </a:t>
            </a:r>
            <a:r>
              <a:rPr lang="ru-RU" sz="1050" dirty="0" err="1"/>
              <a:t>Matzdorff</a:t>
            </a:r>
            <a:r>
              <a:rPr lang="ru-RU" sz="1050" dirty="0"/>
              <a:t> AC </a:t>
            </a:r>
            <a:r>
              <a:rPr lang="ru-RU" sz="1050" dirty="0" err="1"/>
              <a:t>and</a:t>
            </a:r>
            <a:r>
              <a:rPr lang="ru-RU" sz="1050" dirty="0"/>
              <a:t> </a:t>
            </a:r>
            <a:r>
              <a:rPr lang="ru-RU" sz="1050" dirty="0" err="1"/>
              <a:t>Bell</a:t>
            </a:r>
            <a:r>
              <a:rPr lang="ru-RU" sz="1050" dirty="0"/>
              <a:t> WR, </a:t>
            </a:r>
            <a:r>
              <a:rPr lang="ru-RU" sz="1050" dirty="0" err="1"/>
              <a:t>trans</a:t>
            </a:r>
            <a:r>
              <a:rPr lang="ru-RU" sz="1050" dirty="0"/>
              <a:t>. </a:t>
            </a:r>
            <a:r>
              <a:rPr lang="ru-RU" sz="1050" dirty="0" err="1"/>
              <a:t>Klassiker</a:t>
            </a:r>
            <a:r>
              <a:rPr lang="ru-RU" sz="1050" dirty="0"/>
              <a:t> </a:t>
            </a:r>
            <a:r>
              <a:rPr lang="ru-RU" sz="1050" dirty="0" err="1"/>
              <a:t>der</a:t>
            </a:r>
            <a:r>
              <a:rPr lang="ru-RU" sz="1050" dirty="0"/>
              <a:t> </a:t>
            </a:r>
            <a:r>
              <a:rPr lang="ru-RU" sz="1050" dirty="0" err="1"/>
              <a:t>Medizin</a:t>
            </a:r>
            <a:r>
              <a:rPr lang="ru-RU" sz="1050" dirty="0"/>
              <a:t> </a:t>
            </a:r>
            <a:r>
              <a:rPr lang="ru-RU" sz="1050" dirty="0" err="1"/>
              <a:t>herausgegeben</a:t>
            </a:r>
            <a:r>
              <a:rPr lang="ru-RU" sz="1050" dirty="0"/>
              <a:t> </a:t>
            </a:r>
            <a:r>
              <a:rPr lang="ru-RU" sz="1050" dirty="0" err="1"/>
              <a:t>von</a:t>
            </a:r>
            <a:r>
              <a:rPr lang="ru-RU" sz="1050" dirty="0"/>
              <a:t> </a:t>
            </a:r>
            <a:r>
              <a:rPr lang="ru-RU" sz="1050" dirty="0" err="1"/>
              <a:t>Karl</a:t>
            </a:r>
            <a:r>
              <a:rPr lang="ru-RU" sz="1050" dirty="0"/>
              <a:t> Sudhoff1910Leipzig</a:t>
            </a:r>
            <a:r>
              <a:rPr lang="ru-RU" sz="1050" i="1" dirty="0"/>
              <a:t>Thrombosis </a:t>
            </a:r>
            <a:r>
              <a:rPr lang="ru-RU" sz="1050" i="1" dirty="0" err="1"/>
              <a:t>and</a:t>
            </a:r>
            <a:r>
              <a:rPr lang="ru-RU" sz="1050" i="1" dirty="0"/>
              <a:t> </a:t>
            </a:r>
            <a:r>
              <a:rPr lang="ru-RU" sz="1050" i="1" dirty="0" err="1"/>
              <a:t>Embolie</a:t>
            </a:r>
            <a:r>
              <a:rPr lang="ru-RU" sz="1050" i="1" dirty="0"/>
              <a:t> 1846–1856</a:t>
            </a:r>
            <a:r>
              <a:rPr lang="ru-RU" sz="1050" dirty="0"/>
              <a:t> 1998;In </a:t>
            </a:r>
            <a:r>
              <a:rPr lang="ru-RU" sz="1050" dirty="0" err="1"/>
              <a:t>Barth</a:t>
            </a:r>
            <a:r>
              <a:rPr lang="ru-RU" sz="1050" dirty="0"/>
              <a:t> JA (</a:t>
            </a:r>
            <a:r>
              <a:rPr lang="ru-RU" sz="1050" dirty="0" err="1"/>
              <a:t>Ed</a:t>
            </a:r>
            <a:r>
              <a:rPr lang="ru-RU" sz="1050" dirty="0"/>
              <a:t>.). </a:t>
            </a:r>
            <a:r>
              <a:rPr lang="ru-RU" sz="1050" dirty="0" err="1"/>
              <a:t>Canton</a:t>
            </a:r>
            <a:r>
              <a:rPr lang="ru-RU" sz="1050" dirty="0"/>
              <a:t> </a:t>
            </a:r>
            <a:r>
              <a:rPr lang="ru-RU" sz="1050" dirty="0" err="1"/>
              <a:t>Science</a:t>
            </a:r>
            <a:r>
              <a:rPr lang="ru-RU" sz="1050" dirty="0"/>
              <a:t> </a:t>
            </a:r>
            <a:r>
              <a:rPr lang="ru-RU" sz="1050" dirty="0" err="1"/>
              <a:t>History</a:t>
            </a:r>
            <a:r>
              <a:rPr lang="ru-RU" sz="1050" dirty="0"/>
              <a:t> </a:t>
            </a:r>
            <a:r>
              <a:rPr lang="ru-RU" sz="1050" dirty="0" err="1"/>
              <a:t>Publications</a:t>
            </a:r>
            <a:r>
              <a:rPr lang="ru-RU" sz="1050" dirty="0"/>
              <a:t>. </a:t>
            </a:r>
          </a:p>
          <a:p>
            <a:pPr algn="r" eaLnBrk="1" hangingPunct="1"/>
            <a:r>
              <a:rPr lang="ru-RU" sz="1050" dirty="0" err="1"/>
              <a:t>Virchow</a:t>
            </a:r>
            <a:r>
              <a:rPr lang="ru-RU" sz="1050" dirty="0"/>
              <a:t> RKL. </a:t>
            </a:r>
            <a:r>
              <a:rPr lang="ru-RU" sz="1050" i="1" dirty="0" err="1"/>
              <a:t>Gessamelte</a:t>
            </a:r>
            <a:r>
              <a:rPr lang="ru-RU" sz="1050" i="1" dirty="0"/>
              <a:t> </a:t>
            </a:r>
            <a:r>
              <a:rPr lang="ru-RU" sz="1050" i="1" dirty="0" err="1"/>
              <a:t>Abhandlungen</a:t>
            </a:r>
            <a:r>
              <a:rPr lang="ru-RU" sz="1050" i="1" dirty="0"/>
              <a:t> </a:t>
            </a:r>
            <a:r>
              <a:rPr lang="ru-RU" sz="1050" i="1" dirty="0" err="1"/>
              <a:t>zur</a:t>
            </a:r>
            <a:r>
              <a:rPr lang="ru-RU" sz="1050" i="1" dirty="0"/>
              <a:t> </a:t>
            </a:r>
            <a:r>
              <a:rPr lang="ru-RU" sz="1050" i="1" dirty="0" err="1"/>
              <a:t>wissenschaftlichen</a:t>
            </a:r>
            <a:r>
              <a:rPr lang="ru-RU" sz="1050" i="1" dirty="0"/>
              <a:t> </a:t>
            </a:r>
            <a:r>
              <a:rPr lang="ru-RU" sz="1050" i="1" dirty="0" err="1"/>
              <a:t>Medizin</a:t>
            </a:r>
            <a:r>
              <a:rPr lang="ru-RU" sz="1050" i="1" dirty="0"/>
              <a:t> </a:t>
            </a:r>
            <a:r>
              <a:rPr lang="ru-RU" sz="1050" i="1" dirty="0" err="1"/>
              <a:t>von</a:t>
            </a:r>
            <a:r>
              <a:rPr lang="ru-RU" sz="1050" i="1" dirty="0"/>
              <a:t> </a:t>
            </a:r>
            <a:r>
              <a:rPr lang="ru-RU" sz="1050" i="1" dirty="0" err="1"/>
              <a:t>Rudolf</a:t>
            </a:r>
            <a:r>
              <a:rPr lang="ru-RU" sz="1050" i="1" dirty="0"/>
              <a:t> </a:t>
            </a:r>
            <a:r>
              <a:rPr lang="ru-RU" sz="1050" i="1" dirty="0" err="1"/>
              <a:t>Virchow</a:t>
            </a:r>
            <a:r>
              <a:rPr lang="ru-RU" sz="1050" dirty="0"/>
              <a:t> 1856;Frankfurt </a:t>
            </a:r>
            <a:r>
              <a:rPr lang="ru-RU" sz="1050" dirty="0" err="1"/>
              <a:t>am</a:t>
            </a:r>
            <a:r>
              <a:rPr lang="ru-RU" sz="1050" dirty="0"/>
              <a:t> </a:t>
            </a:r>
            <a:r>
              <a:rPr lang="ru-RU" sz="1050" dirty="0" err="1"/>
              <a:t>Main</a:t>
            </a:r>
            <a:r>
              <a:rPr lang="ru-RU" sz="1050" dirty="0"/>
              <a:t> </a:t>
            </a:r>
            <a:r>
              <a:rPr lang="ru-RU" sz="1050" dirty="0" err="1"/>
              <a:t>Meidinger</a:t>
            </a:r>
            <a:r>
              <a:rPr lang="ru-RU" sz="1050" dirty="0"/>
              <a:t> </a:t>
            </a:r>
            <a:r>
              <a:rPr lang="ru-RU" sz="1050" dirty="0" err="1"/>
              <a:t>pp</a:t>
            </a:r>
            <a:r>
              <a:rPr lang="ru-RU" sz="1050" dirty="0"/>
              <a:t>. 514–15. </a:t>
            </a:r>
          </a:p>
          <a:p>
            <a:pPr algn="r" eaLnBrk="1" hangingPunct="1"/>
            <a:r>
              <a:rPr lang="ru-RU" sz="1050" dirty="0" err="1"/>
              <a:t>Virchow</a:t>
            </a:r>
            <a:r>
              <a:rPr lang="ru-RU" sz="1050" dirty="0"/>
              <a:t> RKL. </a:t>
            </a:r>
            <a:r>
              <a:rPr lang="ru-RU" sz="1050" i="1" dirty="0" err="1"/>
              <a:t>Die</a:t>
            </a:r>
            <a:r>
              <a:rPr lang="ru-RU" sz="1050" i="1" dirty="0"/>
              <a:t> </a:t>
            </a:r>
            <a:r>
              <a:rPr lang="ru-RU" sz="1050" i="1" dirty="0" err="1"/>
              <a:t>Cellularpathologie</a:t>
            </a:r>
            <a:r>
              <a:rPr lang="ru-RU" sz="1050" i="1" dirty="0"/>
              <a:t> </a:t>
            </a:r>
            <a:r>
              <a:rPr lang="ru-RU" sz="1050" i="1" dirty="0" err="1"/>
              <a:t>in</a:t>
            </a:r>
            <a:r>
              <a:rPr lang="ru-RU" sz="1050" i="1" dirty="0"/>
              <a:t> </a:t>
            </a:r>
            <a:r>
              <a:rPr lang="ru-RU" sz="1050" i="1" dirty="0" err="1"/>
              <a:t>ihrer</a:t>
            </a:r>
            <a:r>
              <a:rPr lang="ru-RU" sz="1050" i="1" dirty="0"/>
              <a:t> </a:t>
            </a:r>
            <a:r>
              <a:rPr lang="ru-RU" sz="1050" i="1" dirty="0" err="1"/>
              <a:t>Begründung</a:t>
            </a:r>
            <a:r>
              <a:rPr lang="ru-RU" sz="1050" i="1" dirty="0"/>
              <a:t> </a:t>
            </a:r>
            <a:r>
              <a:rPr lang="ru-RU" sz="1050" i="1" dirty="0" err="1"/>
              <a:t>auf</a:t>
            </a:r>
            <a:r>
              <a:rPr lang="ru-RU" sz="1050" i="1" dirty="0"/>
              <a:t> </a:t>
            </a:r>
            <a:r>
              <a:rPr lang="ru-RU" sz="1050" i="1" dirty="0" err="1"/>
              <a:t>physiologische</a:t>
            </a:r>
            <a:r>
              <a:rPr lang="ru-RU" sz="1050" i="1" dirty="0"/>
              <a:t> </a:t>
            </a:r>
            <a:r>
              <a:rPr lang="ru-RU" sz="1050" i="1" dirty="0" err="1"/>
              <a:t>und</a:t>
            </a:r>
            <a:r>
              <a:rPr lang="ru-RU" sz="1050" i="1" dirty="0"/>
              <a:t> </a:t>
            </a:r>
            <a:r>
              <a:rPr lang="ru-RU" sz="1050" i="1" dirty="0" err="1"/>
              <a:t>pathologische</a:t>
            </a:r>
            <a:r>
              <a:rPr lang="ru-RU" sz="1050" i="1" dirty="0"/>
              <a:t> </a:t>
            </a:r>
            <a:r>
              <a:rPr lang="ru-RU" sz="1050" i="1" dirty="0" err="1"/>
              <a:t>Gewebelehre</a:t>
            </a:r>
            <a:r>
              <a:rPr lang="ru-RU" sz="1050" dirty="0"/>
              <a:t> 1858;Berlin A. </a:t>
            </a:r>
            <a:r>
              <a:rPr lang="ru-RU" sz="1050" dirty="0" err="1"/>
              <a:t>Hirschwald</a:t>
            </a:r>
            <a:r>
              <a:rPr lang="ru-RU" sz="1200" dirty="0"/>
              <a:t>.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344885" y="980728"/>
            <a:ext cx="343907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ru-RU" sz="2800" b="1" dirty="0">
                <a:solidFill>
                  <a:srgbClr val="000099"/>
                </a:solidFill>
              </a:rPr>
              <a:t>Триада Вирхова: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4894" y="548680"/>
            <a:ext cx="2488699" cy="2488699"/>
          </a:xfrm>
          <a:prstGeom prst="rect">
            <a:avLst/>
          </a:prstGeom>
          <a:effectLst>
            <a:softEdge rad="317500"/>
          </a:effectLst>
        </p:spPr>
      </p:pic>
    </p:spTree>
    <p:extLst>
      <p:ext uri="{BB962C8B-B14F-4D97-AF65-F5344CB8AC3E}">
        <p14:creationId xmlns:p14="http://schemas.microsoft.com/office/powerpoint/2010/main" val="4184706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95536" y="236884"/>
            <a:ext cx="3898900" cy="417512"/>
          </a:xfrm>
        </p:spPr>
        <p:txBody>
          <a:bodyPr>
            <a:normAutofit fontScale="90000"/>
          </a:bodyPr>
          <a:lstStyle/>
          <a:p>
            <a:r>
              <a:rPr lang="ru-RU" sz="3600" b="1" dirty="0" smtClean="0">
                <a:solidFill>
                  <a:srgbClr val="3333FF"/>
                </a:solidFill>
              </a:rPr>
              <a:t>Венозный клапан</a:t>
            </a:r>
            <a:endParaRPr lang="ru-RU" sz="3600" b="1" dirty="0">
              <a:solidFill>
                <a:srgbClr val="3333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420888"/>
            <a:ext cx="4339988" cy="15909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2178" y="260648"/>
            <a:ext cx="3308705" cy="20485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1035724"/>
            <a:ext cx="3456384" cy="349409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960" y="4509120"/>
            <a:ext cx="3553858" cy="2207365"/>
          </a:xfrm>
          <a:prstGeom prst="rect">
            <a:avLst/>
          </a:prstGeom>
          <a:effectLst>
            <a:softEdge rad="317500"/>
          </a:effectLst>
        </p:spPr>
      </p:pic>
    </p:spTree>
    <p:extLst>
      <p:ext uri="{BB962C8B-B14F-4D97-AF65-F5344CB8AC3E}">
        <p14:creationId xmlns:p14="http://schemas.microsoft.com/office/powerpoint/2010/main" val="2197993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194" y="1051222"/>
            <a:ext cx="4079788" cy="4394001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79512" y="309206"/>
            <a:ext cx="47525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00FF"/>
                </a:solidFill>
              </a:rPr>
              <a:t>Изменения диаметра вен во время беременности</a:t>
            </a:r>
            <a:endParaRPr lang="ru-RU" sz="2000" b="1" dirty="0">
              <a:solidFill>
                <a:srgbClr val="0000FF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745305" y="404664"/>
            <a:ext cx="40432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FF0000"/>
                </a:solidFill>
              </a:rPr>
              <a:t>Локализация тромба – в 70% слева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040" y="1020960"/>
            <a:ext cx="3600400" cy="4934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089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RcqWN3xEaNVtEoGRzOa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WW Master Template">
  <a:themeElements>
    <a:clrScheme name="WW Master Template 4">
      <a:dk1>
        <a:srgbClr val="565656"/>
      </a:dk1>
      <a:lt1>
        <a:srgbClr val="FFFFFF"/>
      </a:lt1>
      <a:dk2>
        <a:srgbClr val="565656"/>
      </a:dk2>
      <a:lt2>
        <a:srgbClr val="A9A39C"/>
      </a:lt2>
      <a:accent1>
        <a:srgbClr val="FFCC00"/>
      </a:accent1>
      <a:accent2>
        <a:srgbClr val="FF6600"/>
      </a:accent2>
      <a:accent3>
        <a:srgbClr val="FFFFFF"/>
      </a:accent3>
      <a:accent4>
        <a:srgbClr val="484848"/>
      </a:accent4>
      <a:accent5>
        <a:srgbClr val="FFE2AA"/>
      </a:accent5>
      <a:accent6>
        <a:srgbClr val="E75C00"/>
      </a:accent6>
      <a:hlink>
        <a:srgbClr val="990000"/>
      </a:hlink>
      <a:folHlink>
        <a:srgbClr val="990000"/>
      </a:folHlink>
    </a:clrScheme>
    <a:fontScheme name="WW Master 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WW Master Template 1">
        <a:dk1>
          <a:srgbClr val="666666"/>
        </a:dk1>
        <a:lt1>
          <a:srgbClr val="FFFFFF"/>
        </a:lt1>
        <a:dk2>
          <a:srgbClr val="666666"/>
        </a:dk2>
        <a:lt2>
          <a:srgbClr val="808080"/>
        </a:lt2>
        <a:accent1>
          <a:srgbClr val="FFCC00"/>
        </a:accent1>
        <a:accent2>
          <a:srgbClr val="FF6600"/>
        </a:accent2>
        <a:accent3>
          <a:srgbClr val="FFFFFF"/>
        </a:accent3>
        <a:accent4>
          <a:srgbClr val="565656"/>
        </a:accent4>
        <a:accent5>
          <a:srgbClr val="FFE2AA"/>
        </a:accent5>
        <a:accent6>
          <a:srgbClr val="E75C00"/>
        </a:accent6>
        <a:hlink>
          <a:srgbClr val="FF000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W Master Template 2">
        <a:dk1>
          <a:srgbClr val="666666"/>
        </a:dk1>
        <a:lt1>
          <a:srgbClr val="FFFFFF"/>
        </a:lt1>
        <a:dk2>
          <a:srgbClr val="666666"/>
        </a:dk2>
        <a:lt2>
          <a:srgbClr val="A9A39C"/>
        </a:lt2>
        <a:accent1>
          <a:srgbClr val="FFCC00"/>
        </a:accent1>
        <a:accent2>
          <a:srgbClr val="FF6600"/>
        </a:accent2>
        <a:accent3>
          <a:srgbClr val="FFFFFF"/>
        </a:accent3>
        <a:accent4>
          <a:srgbClr val="565656"/>
        </a:accent4>
        <a:accent5>
          <a:srgbClr val="FFE2AA"/>
        </a:accent5>
        <a:accent6>
          <a:srgbClr val="E75C00"/>
        </a:accent6>
        <a:hlink>
          <a:srgbClr val="FF00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W Master Template 3">
        <a:dk1>
          <a:srgbClr val="666666"/>
        </a:dk1>
        <a:lt1>
          <a:srgbClr val="FFFFFF"/>
        </a:lt1>
        <a:dk2>
          <a:srgbClr val="666666"/>
        </a:dk2>
        <a:lt2>
          <a:srgbClr val="A9A39C"/>
        </a:lt2>
        <a:accent1>
          <a:srgbClr val="FFCC00"/>
        </a:accent1>
        <a:accent2>
          <a:srgbClr val="FF6600"/>
        </a:accent2>
        <a:accent3>
          <a:srgbClr val="FFFFFF"/>
        </a:accent3>
        <a:accent4>
          <a:srgbClr val="565656"/>
        </a:accent4>
        <a:accent5>
          <a:srgbClr val="FFE2AA"/>
        </a:accent5>
        <a:accent6>
          <a:srgbClr val="E75C00"/>
        </a:accent6>
        <a:hlink>
          <a:srgbClr val="9900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W Master Template 4">
        <a:dk1>
          <a:srgbClr val="565656"/>
        </a:dk1>
        <a:lt1>
          <a:srgbClr val="FFFFFF"/>
        </a:lt1>
        <a:dk2>
          <a:srgbClr val="565656"/>
        </a:dk2>
        <a:lt2>
          <a:srgbClr val="A9A39C"/>
        </a:lt2>
        <a:accent1>
          <a:srgbClr val="FFCC00"/>
        </a:accent1>
        <a:accent2>
          <a:srgbClr val="FF6600"/>
        </a:accent2>
        <a:accent3>
          <a:srgbClr val="FFFFFF"/>
        </a:accent3>
        <a:accent4>
          <a:srgbClr val="484848"/>
        </a:accent4>
        <a:accent5>
          <a:srgbClr val="FFE2AA"/>
        </a:accent5>
        <a:accent6>
          <a:srgbClr val="E75C00"/>
        </a:accent6>
        <a:hlink>
          <a:srgbClr val="9900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652</TotalTime>
  <Words>1642</Words>
  <Application>Microsoft Office PowerPoint</Application>
  <PresentationFormat>Экран (4:3)</PresentationFormat>
  <Paragraphs>282</Paragraphs>
  <Slides>53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3</vt:i4>
      </vt:variant>
    </vt:vector>
  </HeadingPairs>
  <TitlesOfParts>
    <vt:vector size="56" baseType="lpstr">
      <vt:lpstr>Тема Office</vt:lpstr>
      <vt:lpstr>WW Master Template</vt:lpstr>
      <vt:lpstr>Chart</vt:lpstr>
      <vt:lpstr> Тромбопрофилактика в акушерстве  </vt:lpstr>
      <vt:lpstr>Thrombosis in women: what are the knowledge gaps in 2013?</vt:lpstr>
      <vt:lpstr>Презентация PowerPoint</vt:lpstr>
      <vt:lpstr>Презентация PowerPoint</vt:lpstr>
      <vt:lpstr>Проблема ВТЭО</vt:lpstr>
      <vt:lpstr>Презентация PowerPoint</vt:lpstr>
      <vt:lpstr>Rudolph Virchow, 1859</vt:lpstr>
      <vt:lpstr>Венозный клапан</vt:lpstr>
      <vt:lpstr>Презентация PowerPoint</vt:lpstr>
      <vt:lpstr>Презентация PowerPoint</vt:lpstr>
      <vt:lpstr>Презентация PowerPoint</vt:lpstr>
      <vt:lpstr>Кто в России специалист по гемостазу?</vt:lpstr>
      <vt:lpstr>Презентация PowerPoint</vt:lpstr>
      <vt:lpstr>Оценка риска тромбоэмболических осложнений для выбора метода профилактики</vt:lpstr>
      <vt:lpstr>Презентация PowerPoint</vt:lpstr>
      <vt:lpstr>Презентация PowerPoint</vt:lpstr>
      <vt:lpstr>Презентация PowerPoint</vt:lpstr>
      <vt:lpstr>Презентация PowerPoint</vt:lpstr>
      <vt:lpstr>Фармакологическую тромбопрофилактику (НМГ) во время беременности нужно использовать (с чистой совестью) только в следующих ситуациях:</vt:lpstr>
      <vt:lpstr>Показатели коагулограммы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 Е Р Е Ч Е Н Ь жизненно необходимых и важнейших лекарственных препаратов на 2015   </vt:lpstr>
      <vt:lpstr>Презентация PowerPoint</vt:lpstr>
      <vt:lpstr>Профилактические дозы  гепаринов</vt:lpstr>
      <vt:lpstr>Презентация PowerPoint</vt:lpstr>
      <vt:lpstr>Презентация PowerPoint</vt:lpstr>
      <vt:lpstr>Лечебные дозы клексан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Лабораторные тесты при профилактике и лечении тромбоз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Безопасность применения низкомолекулярных гепаринов во время беременности</vt:lpstr>
      <vt:lpstr>Методы инактивации антикоагулянтов и дезагрегантов в экстренной ситуации </vt:lpstr>
      <vt:lpstr>Методы инактивации антикоагулянтов и дезагрегантов в экстренной ситуации </vt:lpstr>
      <vt:lpstr>Риск кровотечения                                    (противопоказания к тромбопрофилактике антикоагулянтами)</vt:lpstr>
      <vt:lpstr>Презентация PowerPoint</vt:lpstr>
      <vt:lpstr>Не рекомендуется (или противопоказаны)                                                   во время беременности для профилактики ВТЭО: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филактика и лечение венозных тромбоэмболических осложнений в акушерстве</dc:title>
  <dc:creator>ветер</dc:creator>
  <cp:lastModifiedBy>ветер</cp:lastModifiedBy>
  <cp:revision>72</cp:revision>
  <dcterms:created xsi:type="dcterms:W3CDTF">2014-09-28T03:45:22Z</dcterms:created>
  <dcterms:modified xsi:type="dcterms:W3CDTF">2015-06-18T11:07:12Z</dcterms:modified>
</cp:coreProperties>
</file>